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7"/>
  </p:notesMasterIdLst>
  <p:sldIdLst>
    <p:sldId id="2147475699" r:id="rId5"/>
    <p:sldId id="280" r:id="rId6"/>
    <p:sldId id="260" r:id="rId7"/>
    <p:sldId id="302" r:id="rId8"/>
    <p:sldId id="281" r:id="rId9"/>
    <p:sldId id="283" r:id="rId10"/>
    <p:sldId id="282" r:id="rId11"/>
    <p:sldId id="284" r:id="rId12"/>
    <p:sldId id="278" r:id="rId13"/>
    <p:sldId id="274" r:id="rId14"/>
    <p:sldId id="308" r:id="rId15"/>
    <p:sldId id="279" r:id="rId16"/>
    <p:sldId id="310" r:id="rId17"/>
    <p:sldId id="276" r:id="rId18"/>
    <p:sldId id="303" r:id="rId19"/>
    <p:sldId id="288" r:id="rId20"/>
    <p:sldId id="285" r:id="rId21"/>
    <p:sldId id="306" r:id="rId22"/>
    <p:sldId id="307" r:id="rId23"/>
    <p:sldId id="289" r:id="rId24"/>
    <p:sldId id="294" r:id="rId25"/>
    <p:sldId id="295" r:id="rId26"/>
    <p:sldId id="296" r:id="rId27"/>
    <p:sldId id="298" r:id="rId28"/>
    <p:sldId id="299" r:id="rId29"/>
    <p:sldId id="2147475700" r:id="rId30"/>
    <p:sldId id="2147475703" r:id="rId31"/>
    <p:sldId id="2147475704" r:id="rId32"/>
    <p:sldId id="2147475706" r:id="rId33"/>
    <p:sldId id="2147475707" r:id="rId34"/>
    <p:sldId id="300" r:id="rId35"/>
    <p:sldId id="277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72962697-EC7A-475B-A68B-AF9B10ED451D}">
          <p14:sldIdLst>
            <p14:sldId id="2147475699"/>
            <p14:sldId id="280"/>
            <p14:sldId id="260"/>
          </p14:sldIdLst>
        </p14:section>
        <p14:section name="Part 1" id="{F25F9088-B44E-45F0-A831-BC5D330FE69E}">
          <p14:sldIdLst>
            <p14:sldId id="302"/>
            <p14:sldId id="281"/>
            <p14:sldId id="283"/>
            <p14:sldId id="282"/>
            <p14:sldId id="284"/>
            <p14:sldId id="278"/>
            <p14:sldId id="274"/>
            <p14:sldId id="308"/>
            <p14:sldId id="279"/>
            <p14:sldId id="310"/>
            <p14:sldId id="276"/>
          </p14:sldIdLst>
        </p14:section>
        <p14:section name="Part 2" id="{06EEC145-D088-40E2-AAA7-D761528E201D}">
          <p14:sldIdLst>
            <p14:sldId id="303"/>
            <p14:sldId id="288"/>
            <p14:sldId id="285"/>
            <p14:sldId id="306"/>
            <p14:sldId id="307"/>
            <p14:sldId id="289"/>
            <p14:sldId id="294"/>
            <p14:sldId id="295"/>
            <p14:sldId id="296"/>
            <p14:sldId id="298"/>
            <p14:sldId id="299"/>
            <p14:sldId id="2147475700"/>
            <p14:sldId id="2147475703"/>
            <p14:sldId id="2147475704"/>
            <p14:sldId id="2147475706"/>
            <p14:sldId id="2147475707"/>
            <p14:sldId id="300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1DBE626-66D2-C23B-FB6E-58CB0FCD771D}" name="MaryBeth Carroll" initials="MC" userId="S::marybeth.carroll@nationalgrid.com::63ca9a05-9e51-4fce-8402-78ed87256b5c" providerId="AD"/>
  <p188:author id="{79BD1828-6166-23BE-9487-D149E0122CC3}" name="Donna Silva" initials="DS" userId="S::Donna.Silva@nationalgrid.com::df0afe02-0f31-4a47-9056-87b7a91e33ce" providerId="AD"/>
  <p188:author id="{567BF6BD-1067-D794-0A21-0431FDFC1853}" name="Tessa Kajdi" initials="" userId="S::Tessa.Kajdi@us.nationalgrid.com::f870d46b-1b79-4e6c-8539-748bf295cafd" providerId="AD"/>
  <p188:author id="{97CBB9BF-4DB4-0F35-22DB-5F503612FF6D}" name="Liz Harridge" initials="EH" userId="S::Elizabeth.Harridge@us.nationalgrid.com::a4c832fa-6df7-4154-bc7b-13ec583e33d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E8"/>
    <a:srgbClr val="00148C"/>
    <a:srgbClr val="00BE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2DE52D-8084-4363-A808-094ABBBA9377}" v="298" dt="2026-06-04T00:36:23.715"/>
  </p1510:revLst>
</p1510:revInfo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9216" autoAdjust="0"/>
  </p:normalViewPr>
  <p:slideViewPr>
    <p:cSldViewPr snapToGrid="0">
      <p:cViewPr>
        <p:scale>
          <a:sx n="66" d="100"/>
          <a:sy n="66" d="100"/>
        </p:scale>
        <p:origin x="744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sey Elkin" userId="84f925f2-579a-4827-8dbe-4132fee3a4a8" providerId="ADAL" clId="{724CB732-B505-436A-8F51-ED8A31FC091A}"/>
    <pc:docChg chg="undo redo custSel addSld delSld modSld addSection delSection modSection">
      <pc:chgData name="Kasey Elkin" userId="84f925f2-579a-4827-8dbe-4132fee3a4a8" providerId="ADAL" clId="{724CB732-B505-436A-8F51-ED8A31FC091A}" dt="2026-06-04T00:39:20.001" v="4279" actId="14100"/>
      <pc:docMkLst>
        <pc:docMk/>
      </pc:docMkLst>
      <pc:sldChg chg="addSp delSp modSp add mod">
        <pc:chgData name="Kasey Elkin" userId="84f925f2-579a-4827-8dbe-4132fee3a4a8" providerId="ADAL" clId="{724CB732-B505-436A-8F51-ED8A31FC091A}" dt="2026-06-03T14:58:07.126" v="556" actId="1076"/>
        <pc:sldMkLst>
          <pc:docMk/>
          <pc:sldMk cId="2139293287" sldId="260"/>
        </pc:sldMkLst>
        <pc:spChg chg="mod">
          <ac:chgData name="Kasey Elkin" userId="84f925f2-579a-4827-8dbe-4132fee3a4a8" providerId="ADAL" clId="{724CB732-B505-436A-8F51-ED8A31FC091A}" dt="2026-06-02T19:01:54.370" v="549" actId="1076"/>
          <ac:spMkLst>
            <pc:docMk/>
            <pc:sldMk cId="2139293287" sldId="260"/>
            <ac:spMk id="3" creationId="{F9DA6280-6ABB-4C96-D25E-C5A4353636A2}"/>
          </ac:spMkLst>
        </pc:spChg>
        <pc:picChg chg="del mod">
          <ac:chgData name="Kasey Elkin" userId="84f925f2-579a-4827-8dbe-4132fee3a4a8" providerId="ADAL" clId="{724CB732-B505-436A-8F51-ED8A31FC091A}" dt="2026-06-03T14:57:40.777" v="550" actId="478"/>
          <ac:picMkLst>
            <pc:docMk/>
            <pc:sldMk cId="2139293287" sldId="260"/>
            <ac:picMk id="5" creationId="{F7D319D8-70C7-AAB3-9893-13B52256098C}"/>
          </ac:picMkLst>
        </pc:picChg>
        <pc:picChg chg="add mod modCrop">
          <ac:chgData name="Kasey Elkin" userId="84f925f2-579a-4827-8dbe-4132fee3a4a8" providerId="ADAL" clId="{724CB732-B505-436A-8F51-ED8A31FC091A}" dt="2026-06-03T14:58:07.126" v="556" actId="1076"/>
          <ac:picMkLst>
            <pc:docMk/>
            <pc:sldMk cId="2139293287" sldId="260"/>
            <ac:picMk id="6" creationId="{11B0BE8C-5DAD-B45D-2B64-393310734218}"/>
          </ac:picMkLst>
        </pc:picChg>
      </pc:sldChg>
      <pc:sldChg chg="addSp delSp modSp add mod modAnim">
        <pc:chgData name="Kasey Elkin" userId="84f925f2-579a-4827-8dbe-4132fee3a4a8" providerId="ADAL" clId="{724CB732-B505-436A-8F51-ED8A31FC091A}" dt="2026-06-04T00:30:40.883" v="4119"/>
        <pc:sldMkLst>
          <pc:docMk/>
          <pc:sldMk cId="0" sldId="274"/>
        </pc:sldMkLst>
        <pc:spChg chg="mod">
          <ac:chgData name="Kasey Elkin" userId="84f925f2-579a-4827-8dbe-4132fee3a4a8" providerId="ADAL" clId="{724CB732-B505-436A-8F51-ED8A31FC091A}" dt="2026-06-04T00:30:01.025" v="4115" actId="1076"/>
          <ac:spMkLst>
            <pc:docMk/>
            <pc:sldMk cId="0" sldId="274"/>
            <ac:spMk id="2" creationId="{D9DD5671-7351-652C-4333-3A1E18EF1F18}"/>
          </ac:spMkLst>
        </pc:spChg>
        <pc:spChg chg="mod">
          <ac:chgData name="Kasey Elkin" userId="84f925f2-579a-4827-8dbe-4132fee3a4a8" providerId="ADAL" clId="{724CB732-B505-436A-8F51-ED8A31FC091A}" dt="2026-06-04T00:30:28.063" v="4118" actId="1035"/>
          <ac:spMkLst>
            <pc:docMk/>
            <pc:sldMk cId="0" sldId="274"/>
            <ac:spMk id="27657" creationId="{FEB1D70E-3ACD-6EA3-8C17-E6A18ED73CF7}"/>
          </ac:spMkLst>
        </pc:spChg>
        <pc:spChg chg="mod">
          <ac:chgData name="Kasey Elkin" userId="84f925f2-579a-4827-8dbe-4132fee3a4a8" providerId="ADAL" clId="{724CB732-B505-436A-8F51-ED8A31FC091A}" dt="2026-06-03T16:26:01.038" v="830" actId="1076"/>
          <ac:spMkLst>
            <pc:docMk/>
            <pc:sldMk cId="0" sldId="274"/>
            <ac:spMk id="27658" creationId="{38E66078-4350-9B75-3BFB-E6B109A70502}"/>
          </ac:spMkLst>
        </pc:spChg>
        <pc:graphicFrameChg chg="mod">
          <ac:chgData name="Kasey Elkin" userId="84f925f2-579a-4827-8dbe-4132fee3a4a8" providerId="ADAL" clId="{724CB732-B505-436A-8F51-ED8A31FC091A}" dt="2026-06-03T16:25:53.544" v="828" actId="1076"/>
          <ac:graphicFrameMkLst>
            <pc:docMk/>
            <pc:sldMk cId="0" sldId="274"/>
            <ac:graphicFrameMk id="27655" creationId="{FC0D3413-BD0F-1BCF-01A9-28A3CCB23BAB}"/>
          </ac:graphicFrameMkLst>
        </pc:graphicFrameChg>
      </pc:sldChg>
      <pc:sldChg chg="add">
        <pc:chgData name="Kasey Elkin" userId="84f925f2-579a-4827-8dbe-4132fee3a4a8" providerId="ADAL" clId="{724CB732-B505-436A-8F51-ED8A31FC091A}" dt="2026-06-02T16:24:26.482" v="5"/>
        <pc:sldMkLst>
          <pc:docMk/>
          <pc:sldMk cId="1790913624" sldId="276"/>
        </pc:sldMkLst>
      </pc:sldChg>
      <pc:sldChg chg="modSp add mod">
        <pc:chgData name="Kasey Elkin" userId="84f925f2-579a-4827-8dbe-4132fee3a4a8" providerId="ADAL" clId="{724CB732-B505-436A-8F51-ED8A31FC091A}" dt="2026-06-03T20:22:20.025" v="2180" actId="20577"/>
        <pc:sldMkLst>
          <pc:docMk/>
          <pc:sldMk cId="2887092655" sldId="277"/>
        </pc:sldMkLst>
        <pc:spChg chg="mod">
          <ac:chgData name="Kasey Elkin" userId="84f925f2-579a-4827-8dbe-4132fee3a4a8" providerId="ADAL" clId="{724CB732-B505-436A-8F51-ED8A31FC091A}" dt="2026-06-03T20:22:20.025" v="2180" actId="20577"/>
          <ac:spMkLst>
            <pc:docMk/>
            <pc:sldMk cId="2887092655" sldId="277"/>
            <ac:spMk id="3" creationId="{F9DA6280-6ABB-4C96-D25E-C5A4353636A2}"/>
          </ac:spMkLst>
        </pc:spChg>
      </pc:sldChg>
      <pc:sldChg chg="addSp delSp modSp add mod delAnim modAnim">
        <pc:chgData name="Kasey Elkin" userId="84f925f2-579a-4827-8dbe-4132fee3a4a8" providerId="ADAL" clId="{724CB732-B505-436A-8F51-ED8A31FC091A}" dt="2026-06-03T16:15:11.475" v="738"/>
        <pc:sldMkLst>
          <pc:docMk/>
          <pc:sldMk cId="1011043195" sldId="278"/>
        </pc:sldMkLst>
        <pc:spChg chg="mod">
          <ac:chgData name="Kasey Elkin" userId="84f925f2-579a-4827-8dbe-4132fee3a4a8" providerId="ADAL" clId="{724CB732-B505-436A-8F51-ED8A31FC091A}" dt="2026-06-02T16:36:54.285" v="268" actId="14100"/>
          <ac:spMkLst>
            <pc:docMk/>
            <pc:sldMk cId="1011043195" sldId="278"/>
            <ac:spMk id="2" creationId="{F7D396F2-4505-76A1-F85C-61D483576DBC}"/>
          </ac:spMkLst>
        </pc:spChg>
        <pc:spChg chg="mod">
          <ac:chgData name="Kasey Elkin" userId="84f925f2-579a-4827-8dbe-4132fee3a4a8" providerId="ADAL" clId="{724CB732-B505-436A-8F51-ED8A31FC091A}" dt="2026-06-03T16:11:25.284" v="725" actId="12"/>
          <ac:spMkLst>
            <pc:docMk/>
            <pc:sldMk cId="1011043195" sldId="278"/>
            <ac:spMk id="3" creationId="{F9DA6280-6ABB-4C96-D25E-C5A4353636A2}"/>
          </ac:spMkLst>
        </pc:spChg>
        <pc:picChg chg="del">
          <ac:chgData name="Kasey Elkin" userId="84f925f2-579a-4827-8dbe-4132fee3a4a8" providerId="ADAL" clId="{724CB732-B505-436A-8F51-ED8A31FC091A}" dt="2026-06-03T16:13:31.826" v="726" actId="478"/>
          <ac:picMkLst>
            <pc:docMk/>
            <pc:sldMk cId="1011043195" sldId="278"/>
            <ac:picMk id="4" creationId="{86D2AA30-B0A4-0EF7-CC3B-82320C1BA8CF}"/>
          </ac:picMkLst>
        </pc:picChg>
        <pc:picChg chg="add del mod modCrop">
          <ac:chgData name="Kasey Elkin" userId="84f925f2-579a-4827-8dbe-4132fee3a4a8" providerId="ADAL" clId="{724CB732-B505-436A-8F51-ED8A31FC091A}" dt="2026-06-03T16:15:04.952" v="735" actId="478"/>
          <ac:picMkLst>
            <pc:docMk/>
            <pc:sldMk cId="1011043195" sldId="278"/>
            <ac:picMk id="6" creationId="{14AA0E05-51FD-DCEE-47AF-D09AD10104EA}"/>
          </ac:picMkLst>
        </pc:picChg>
        <pc:picChg chg="add mod">
          <ac:chgData name="Kasey Elkin" userId="84f925f2-579a-4827-8dbe-4132fee3a4a8" providerId="ADAL" clId="{724CB732-B505-436A-8F51-ED8A31FC091A}" dt="2026-06-03T16:15:08.374" v="737" actId="1076"/>
          <ac:picMkLst>
            <pc:docMk/>
            <pc:sldMk cId="1011043195" sldId="278"/>
            <ac:picMk id="8" creationId="{B49E855D-2399-A9FB-37AE-37BC5911244E}"/>
          </ac:picMkLst>
        </pc:picChg>
      </pc:sldChg>
      <pc:sldChg chg="modSp add mod">
        <pc:chgData name="Kasey Elkin" userId="84f925f2-579a-4827-8dbe-4132fee3a4a8" providerId="ADAL" clId="{724CB732-B505-436A-8F51-ED8A31FC091A}" dt="2026-06-04T00:32:05.438" v="4158" actId="20577"/>
        <pc:sldMkLst>
          <pc:docMk/>
          <pc:sldMk cId="3348719315" sldId="279"/>
        </pc:sldMkLst>
        <pc:spChg chg="mod">
          <ac:chgData name="Kasey Elkin" userId="84f925f2-579a-4827-8dbe-4132fee3a4a8" providerId="ADAL" clId="{724CB732-B505-436A-8F51-ED8A31FC091A}" dt="2026-06-02T16:41:43.428" v="354" actId="14100"/>
          <ac:spMkLst>
            <pc:docMk/>
            <pc:sldMk cId="3348719315" sldId="279"/>
            <ac:spMk id="2" creationId="{F7D396F2-4505-76A1-F85C-61D483576DBC}"/>
          </ac:spMkLst>
        </pc:spChg>
        <pc:spChg chg="mod">
          <ac:chgData name="Kasey Elkin" userId="84f925f2-579a-4827-8dbe-4132fee3a4a8" providerId="ADAL" clId="{724CB732-B505-436A-8F51-ED8A31FC091A}" dt="2026-06-04T00:32:05.438" v="4158" actId="20577"/>
          <ac:spMkLst>
            <pc:docMk/>
            <pc:sldMk cId="3348719315" sldId="279"/>
            <ac:spMk id="3" creationId="{F9DA6280-6ABB-4C96-D25E-C5A4353636A2}"/>
          </ac:spMkLst>
        </pc:spChg>
      </pc:sldChg>
      <pc:sldChg chg="modSp add mod">
        <pc:chgData name="Kasey Elkin" userId="84f925f2-579a-4827-8dbe-4132fee3a4a8" providerId="ADAL" clId="{724CB732-B505-436A-8F51-ED8A31FC091A}" dt="2026-06-02T16:28:51.932" v="177" actId="1076"/>
        <pc:sldMkLst>
          <pc:docMk/>
          <pc:sldMk cId="3735540414" sldId="280"/>
        </pc:sldMkLst>
        <pc:spChg chg="mod">
          <ac:chgData name="Kasey Elkin" userId="84f925f2-579a-4827-8dbe-4132fee3a4a8" providerId="ADAL" clId="{724CB732-B505-436A-8F51-ED8A31FC091A}" dt="2026-06-02T16:28:51.932" v="177" actId="1076"/>
          <ac:spMkLst>
            <pc:docMk/>
            <pc:sldMk cId="3735540414" sldId="280"/>
            <ac:spMk id="3" creationId="{F9DA6280-6ABB-4C96-D25E-C5A4353636A2}"/>
          </ac:spMkLst>
        </pc:spChg>
      </pc:sldChg>
      <pc:sldChg chg="addSp delSp modSp add mod">
        <pc:chgData name="Kasey Elkin" userId="84f925f2-579a-4827-8dbe-4132fee3a4a8" providerId="ADAL" clId="{724CB732-B505-436A-8F51-ED8A31FC091A}" dt="2026-06-04T00:27:13.523" v="4045" actId="20577"/>
        <pc:sldMkLst>
          <pc:docMk/>
          <pc:sldMk cId="2181083075" sldId="281"/>
        </pc:sldMkLst>
        <pc:spChg chg="mod">
          <ac:chgData name="Kasey Elkin" userId="84f925f2-579a-4827-8dbe-4132fee3a4a8" providerId="ADAL" clId="{724CB732-B505-436A-8F51-ED8A31FC091A}" dt="2026-06-04T00:27:13.523" v="4045" actId="20577"/>
          <ac:spMkLst>
            <pc:docMk/>
            <pc:sldMk cId="2181083075" sldId="281"/>
            <ac:spMk id="3" creationId="{F9DA6280-6ABB-4C96-D25E-C5A4353636A2}"/>
          </ac:spMkLst>
        </pc:spChg>
        <pc:spChg chg="del mod">
          <ac:chgData name="Kasey Elkin" userId="84f925f2-579a-4827-8dbe-4132fee3a4a8" providerId="ADAL" clId="{724CB732-B505-436A-8F51-ED8A31FC091A}" dt="2026-06-04T00:25:07.818" v="4030" actId="478"/>
          <ac:spMkLst>
            <pc:docMk/>
            <pc:sldMk cId="2181083075" sldId="281"/>
            <ac:spMk id="8" creationId="{E1216C85-AF67-D16B-E85B-4440F2F88952}"/>
          </ac:spMkLst>
        </pc:spChg>
        <pc:picChg chg="del mod">
          <ac:chgData name="Kasey Elkin" userId="84f925f2-579a-4827-8dbe-4132fee3a4a8" providerId="ADAL" clId="{724CB732-B505-436A-8F51-ED8A31FC091A}" dt="2026-06-03T15:06:20.258" v="573" actId="478"/>
          <ac:picMkLst>
            <pc:docMk/>
            <pc:sldMk cId="2181083075" sldId="281"/>
            <ac:picMk id="5" creationId="{633C912C-7D48-D569-F256-B635ED9352AE}"/>
          </ac:picMkLst>
        </pc:picChg>
        <pc:picChg chg="add mod ord">
          <ac:chgData name="Kasey Elkin" userId="84f925f2-579a-4827-8dbe-4132fee3a4a8" providerId="ADAL" clId="{724CB732-B505-436A-8F51-ED8A31FC091A}" dt="2026-06-03T15:06:39.614" v="578" actId="1076"/>
          <ac:picMkLst>
            <pc:docMk/>
            <pc:sldMk cId="2181083075" sldId="281"/>
            <ac:picMk id="7" creationId="{5743CE83-2ACA-8308-412C-F66B30201250}"/>
          </ac:picMkLst>
        </pc:picChg>
        <pc:cxnChg chg="del mod">
          <ac:chgData name="Kasey Elkin" userId="84f925f2-579a-4827-8dbe-4132fee3a4a8" providerId="ADAL" clId="{724CB732-B505-436A-8F51-ED8A31FC091A}" dt="2026-06-04T00:25:06.522" v="4029" actId="478"/>
          <ac:cxnSpMkLst>
            <pc:docMk/>
            <pc:sldMk cId="2181083075" sldId="281"/>
            <ac:cxnSpMk id="6" creationId="{DDF951C3-9CAF-D35B-E991-9F32F3B45791}"/>
          </ac:cxnSpMkLst>
        </pc:cxnChg>
      </pc:sldChg>
      <pc:sldChg chg="addSp delSp modSp add mod">
        <pc:chgData name="Kasey Elkin" userId="84f925f2-579a-4827-8dbe-4132fee3a4a8" providerId="ADAL" clId="{724CB732-B505-436A-8F51-ED8A31FC091A}" dt="2026-06-03T16:09:17.612" v="658" actId="12"/>
        <pc:sldMkLst>
          <pc:docMk/>
          <pc:sldMk cId="3791009709" sldId="282"/>
        </pc:sldMkLst>
        <pc:spChg chg="mod">
          <ac:chgData name="Kasey Elkin" userId="84f925f2-579a-4827-8dbe-4132fee3a4a8" providerId="ADAL" clId="{724CB732-B505-436A-8F51-ED8A31FC091A}" dt="2026-06-03T16:09:17.612" v="658" actId="12"/>
          <ac:spMkLst>
            <pc:docMk/>
            <pc:sldMk cId="3791009709" sldId="282"/>
            <ac:spMk id="3" creationId="{F9DA6280-6ABB-4C96-D25E-C5A4353636A2}"/>
          </ac:spMkLst>
        </pc:spChg>
        <pc:picChg chg="add del mod modCrop">
          <ac:chgData name="Kasey Elkin" userId="84f925f2-579a-4827-8dbe-4132fee3a4a8" providerId="ADAL" clId="{724CB732-B505-436A-8F51-ED8A31FC091A}" dt="2026-06-03T16:06:08.995" v="628" actId="478"/>
          <ac:picMkLst>
            <pc:docMk/>
            <pc:sldMk cId="3791009709" sldId="282"/>
            <ac:picMk id="5" creationId="{4CDDEC3E-E509-405D-82CD-619E7FF4E42C}"/>
          </ac:picMkLst>
        </pc:picChg>
        <pc:picChg chg="del mod">
          <ac:chgData name="Kasey Elkin" userId="84f925f2-579a-4827-8dbe-4132fee3a4a8" providerId="ADAL" clId="{724CB732-B505-436A-8F51-ED8A31FC091A}" dt="2026-06-03T16:04:35.954" v="620" actId="478"/>
          <ac:picMkLst>
            <pc:docMk/>
            <pc:sldMk cId="3791009709" sldId="282"/>
            <ac:picMk id="6" creationId="{6DA289EE-7B99-95D8-BD96-97C2ABC81E30}"/>
          </ac:picMkLst>
        </pc:picChg>
        <pc:picChg chg="add del mod">
          <ac:chgData name="Kasey Elkin" userId="84f925f2-579a-4827-8dbe-4132fee3a4a8" providerId="ADAL" clId="{724CB732-B505-436A-8F51-ED8A31FC091A}" dt="2026-06-03T16:06:45.883" v="631" actId="478"/>
          <ac:picMkLst>
            <pc:docMk/>
            <pc:sldMk cId="3791009709" sldId="282"/>
            <ac:picMk id="8" creationId="{36AA70D8-D634-FB52-DBCA-D03FE6C857A2}"/>
          </ac:picMkLst>
        </pc:picChg>
        <pc:picChg chg="add mod">
          <ac:chgData name="Kasey Elkin" userId="84f925f2-579a-4827-8dbe-4132fee3a4a8" providerId="ADAL" clId="{724CB732-B505-436A-8F51-ED8A31FC091A}" dt="2026-06-03T16:06:50.816" v="633" actId="1076"/>
          <ac:picMkLst>
            <pc:docMk/>
            <pc:sldMk cId="3791009709" sldId="282"/>
            <ac:picMk id="10" creationId="{23515191-47B3-BCEA-835E-CE12A8262BF5}"/>
          </ac:picMkLst>
        </pc:picChg>
      </pc:sldChg>
      <pc:sldChg chg="addSp delSp modSp add mod modAnim">
        <pc:chgData name="Kasey Elkin" userId="84f925f2-579a-4827-8dbe-4132fee3a4a8" providerId="ADAL" clId="{724CB732-B505-436A-8F51-ED8A31FC091A}" dt="2026-06-04T00:27:32.098" v="4046" actId="14100"/>
        <pc:sldMkLst>
          <pc:docMk/>
          <pc:sldMk cId="363108040" sldId="283"/>
        </pc:sldMkLst>
        <pc:spChg chg="mod">
          <ac:chgData name="Kasey Elkin" userId="84f925f2-579a-4827-8dbe-4132fee3a4a8" providerId="ADAL" clId="{724CB732-B505-436A-8F51-ED8A31FC091A}" dt="2026-06-04T00:27:32.098" v="4046" actId="14100"/>
          <ac:spMkLst>
            <pc:docMk/>
            <pc:sldMk cId="363108040" sldId="283"/>
            <ac:spMk id="3" creationId="{F9DA6280-6ABB-4C96-D25E-C5A4353636A2}"/>
          </ac:spMkLst>
        </pc:spChg>
        <pc:picChg chg="add del mod">
          <ac:chgData name="Kasey Elkin" userId="84f925f2-579a-4827-8dbe-4132fee3a4a8" providerId="ADAL" clId="{724CB732-B505-436A-8F51-ED8A31FC091A}" dt="2026-06-03T15:19:16.897" v="611" actId="1076"/>
          <ac:picMkLst>
            <pc:docMk/>
            <pc:sldMk cId="363108040" sldId="283"/>
            <ac:picMk id="5" creationId="{ECA8C05B-3B27-6101-40AC-86157B71874D}"/>
          </ac:picMkLst>
        </pc:picChg>
        <pc:picChg chg="add del mod">
          <ac:chgData name="Kasey Elkin" userId="84f925f2-579a-4827-8dbe-4132fee3a4a8" providerId="ADAL" clId="{724CB732-B505-436A-8F51-ED8A31FC091A}" dt="2026-06-03T15:19:14.186" v="604" actId="478"/>
          <ac:picMkLst>
            <pc:docMk/>
            <pc:sldMk cId="363108040" sldId="283"/>
            <ac:picMk id="6" creationId="{8C4DF6CE-D34C-9A40-9797-276E6FD2FA61}"/>
          </ac:picMkLst>
        </pc:picChg>
        <pc:picChg chg="add mod">
          <ac:chgData name="Kasey Elkin" userId="84f925f2-579a-4827-8dbe-4132fee3a4a8" providerId="ADAL" clId="{724CB732-B505-436A-8F51-ED8A31FC091A}" dt="2026-06-03T15:20:06.932" v="614" actId="1076"/>
          <ac:picMkLst>
            <pc:docMk/>
            <pc:sldMk cId="363108040" sldId="283"/>
            <ac:picMk id="8" creationId="{3F3D4C74-3045-DB30-ED6A-E2006FF2A6D8}"/>
          </ac:picMkLst>
        </pc:picChg>
      </pc:sldChg>
      <pc:sldChg chg="addSp delSp modSp add mod">
        <pc:chgData name="Kasey Elkin" userId="84f925f2-579a-4827-8dbe-4132fee3a4a8" providerId="ADAL" clId="{724CB732-B505-436A-8F51-ED8A31FC091A}" dt="2026-06-04T00:28:26.790" v="4066" actId="20577"/>
        <pc:sldMkLst>
          <pc:docMk/>
          <pc:sldMk cId="214737911" sldId="284"/>
        </pc:sldMkLst>
        <pc:spChg chg="mod">
          <ac:chgData name="Kasey Elkin" userId="84f925f2-579a-4827-8dbe-4132fee3a4a8" providerId="ADAL" clId="{724CB732-B505-436A-8F51-ED8A31FC091A}" dt="2026-06-04T00:28:26.790" v="4066" actId="20577"/>
          <ac:spMkLst>
            <pc:docMk/>
            <pc:sldMk cId="214737911" sldId="284"/>
            <ac:spMk id="3" creationId="{F9DA6280-6ABB-4C96-D25E-C5A4353636A2}"/>
          </ac:spMkLst>
        </pc:spChg>
        <pc:picChg chg="add mod modCrop">
          <ac:chgData name="Kasey Elkin" userId="84f925f2-579a-4827-8dbe-4132fee3a4a8" providerId="ADAL" clId="{724CB732-B505-436A-8F51-ED8A31FC091A}" dt="2026-06-03T16:08:46.974" v="640" actId="1076"/>
          <ac:picMkLst>
            <pc:docMk/>
            <pc:sldMk cId="214737911" sldId="284"/>
            <ac:picMk id="5" creationId="{C6C05788-632B-0A58-D2E4-ABD5F3495DE2}"/>
          </ac:picMkLst>
        </pc:picChg>
        <pc:picChg chg="del mod">
          <ac:chgData name="Kasey Elkin" userId="84f925f2-579a-4827-8dbe-4132fee3a4a8" providerId="ADAL" clId="{724CB732-B505-436A-8F51-ED8A31FC091A}" dt="2026-06-03T16:08:30.817" v="634" actId="478"/>
          <ac:picMkLst>
            <pc:docMk/>
            <pc:sldMk cId="214737911" sldId="284"/>
            <ac:picMk id="8" creationId="{02C690C4-E6D7-23C7-709E-FF6528EDBFA8}"/>
          </ac:picMkLst>
        </pc:picChg>
      </pc:sldChg>
      <pc:sldChg chg="delSp modSp add mod">
        <pc:chgData name="Kasey Elkin" userId="84f925f2-579a-4827-8dbe-4132fee3a4a8" providerId="ADAL" clId="{724CB732-B505-436A-8F51-ED8A31FC091A}" dt="2026-06-04T00:37:06.930" v="4226" actId="20577"/>
        <pc:sldMkLst>
          <pc:docMk/>
          <pc:sldMk cId="1898076732" sldId="285"/>
        </pc:sldMkLst>
        <pc:spChg chg="mod">
          <ac:chgData name="Kasey Elkin" userId="84f925f2-579a-4827-8dbe-4132fee3a4a8" providerId="ADAL" clId="{724CB732-B505-436A-8F51-ED8A31FC091A}" dt="2026-06-03T18:35:01.576" v="1413" actId="20577"/>
          <ac:spMkLst>
            <pc:docMk/>
            <pc:sldMk cId="1898076732" sldId="285"/>
            <ac:spMk id="2" creationId="{F7D396F2-4505-76A1-F85C-61D483576DBC}"/>
          </ac:spMkLst>
        </pc:spChg>
        <pc:spChg chg="mod">
          <ac:chgData name="Kasey Elkin" userId="84f925f2-579a-4827-8dbe-4132fee3a4a8" providerId="ADAL" clId="{724CB732-B505-436A-8F51-ED8A31FC091A}" dt="2026-06-04T00:37:06.930" v="4226" actId="20577"/>
          <ac:spMkLst>
            <pc:docMk/>
            <pc:sldMk cId="1898076732" sldId="285"/>
            <ac:spMk id="3" creationId="{F9DA6280-6ABB-4C96-D25E-C5A4353636A2}"/>
          </ac:spMkLst>
        </pc:spChg>
        <pc:spChg chg="mod">
          <ac:chgData name="Kasey Elkin" userId="84f925f2-579a-4827-8dbe-4132fee3a4a8" providerId="ADAL" clId="{724CB732-B505-436A-8F51-ED8A31FC091A}" dt="2026-06-03T18:36:08.886" v="1425" actId="14100"/>
          <ac:spMkLst>
            <pc:docMk/>
            <pc:sldMk cId="1898076732" sldId="285"/>
            <ac:spMk id="7" creationId="{3FFBB61F-BEEF-7217-5258-FE2BECDF00B3}"/>
          </ac:spMkLst>
        </pc:spChg>
        <pc:spChg chg="mod">
          <ac:chgData name="Kasey Elkin" userId="84f925f2-579a-4827-8dbe-4132fee3a4a8" providerId="ADAL" clId="{724CB732-B505-436A-8F51-ED8A31FC091A}" dt="2026-06-03T18:38:52.958" v="1448" actId="20577"/>
          <ac:spMkLst>
            <pc:docMk/>
            <pc:sldMk cId="1898076732" sldId="285"/>
            <ac:spMk id="11" creationId="{ED69DD9E-97C2-F9EA-9B2E-8344C279412C}"/>
          </ac:spMkLst>
        </pc:spChg>
        <pc:spChg chg="mod">
          <ac:chgData name="Kasey Elkin" userId="84f925f2-579a-4827-8dbe-4132fee3a4a8" providerId="ADAL" clId="{724CB732-B505-436A-8F51-ED8A31FC091A}" dt="2026-06-03T18:36:14.615" v="1427" actId="14100"/>
          <ac:spMkLst>
            <pc:docMk/>
            <pc:sldMk cId="1898076732" sldId="285"/>
            <ac:spMk id="15" creationId="{E1842E0C-A2B0-5D35-CA9D-15E3582EBC46}"/>
          </ac:spMkLst>
        </pc:spChg>
        <pc:spChg chg="del mod">
          <ac:chgData name="Kasey Elkin" userId="84f925f2-579a-4827-8dbe-4132fee3a4a8" providerId="ADAL" clId="{724CB732-B505-436A-8F51-ED8A31FC091A}" dt="2026-06-03T18:35:38.708" v="1420" actId="478"/>
          <ac:spMkLst>
            <pc:docMk/>
            <pc:sldMk cId="1898076732" sldId="285"/>
            <ac:spMk id="16" creationId="{B59A5F60-AA58-E8C8-9B99-8A636AB0F964}"/>
          </ac:spMkLst>
        </pc:spChg>
        <pc:spChg chg="mod">
          <ac:chgData name="Kasey Elkin" userId="84f925f2-579a-4827-8dbe-4132fee3a4a8" providerId="ADAL" clId="{724CB732-B505-436A-8F51-ED8A31FC091A}" dt="2026-06-03T18:38:45.597" v="1439" actId="122"/>
          <ac:spMkLst>
            <pc:docMk/>
            <pc:sldMk cId="1898076732" sldId="285"/>
            <ac:spMk id="17" creationId="{C7EBD983-2571-013C-B5DF-C66FBDAF735D}"/>
          </ac:spMkLst>
        </pc:spChg>
      </pc:sldChg>
      <pc:sldChg chg="modSp add del">
        <pc:chgData name="Kasey Elkin" userId="84f925f2-579a-4827-8dbe-4132fee3a4a8" providerId="ADAL" clId="{724CB732-B505-436A-8F51-ED8A31FC091A}" dt="2026-06-04T00:11:23.789" v="3817" actId="47"/>
        <pc:sldMkLst>
          <pc:docMk/>
          <pc:sldMk cId="1777745049" sldId="286"/>
        </pc:sldMkLst>
      </pc:sldChg>
      <pc:sldChg chg="addSp delSp modSp add mod modAnim">
        <pc:chgData name="Kasey Elkin" userId="84f925f2-579a-4827-8dbe-4132fee3a4a8" providerId="ADAL" clId="{724CB732-B505-436A-8F51-ED8A31FC091A}" dt="2026-06-04T00:36:23.715" v="4225" actId="20577"/>
        <pc:sldMkLst>
          <pc:docMk/>
          <pc:sldMk cId="2107707377" sldId="288"/>
        </pc:sldMkLst>
        <pc:spChg chg="mod">
          <ac:chgData name="Kasey Elkin" userId="84f925f2-579a-4827-8dbe-4132fee3a4a8" providerId="ADAL" clId="{724CB732-B505-436A-8F51-ED8A31FC091A}" dt="2026-06-04T00:36:23.715" v="4225" actId="20577"/>
          <ac:spMkLst>
            <pc:docMk/>
            <pc:sldMk cId="2107707377" sldId="288"/>
            <ac:spMk id="4" creationId="{3698D33A-A00B-3223-5CB7-18A0DF7685AC}"/>
          </ac:spMkLst>
        </pc:spChg>
        <pc:spChg chg="add mod">
          <ac:chgData name="Kasey Elkin" userId="84f925f2-579a-4827-8dbe-4132fee3a4a8" providerId="ADAL" clId="{724CB732-B505-436A-8F51-ED8A31FC091A}" dt="2026-06-03T18:31:44.413" v="1395" actId="20577"/>
          <ac:spMkLst>
            <pc:docMk/>
            <pc:sldMk cId="2107707377" sldId="288"/>
            <ac:spMk id="10" creationId="{F4301E4E-F7DE-B833-362D-95302D2E540C}"/>
          </ac:spMkLst>
        </pc:spChg>
        <pc:picChg chg="del mod">
          <ac:chgData name="Kasey Elkin" userId="84f925f2-579a-4827-8dbe-4132fee3a4a8" providerId="ADAL" clId="{724CB732-B505-436A-8F51-ED8A31FC091A}" dt="2026-06-03T18:25:23.134" v="1365" actId="478"/>
          <ac:picMkLst>
            <pc:docMk/>
            <pc:sldMk cId="2107707377" sldId="288"/>
            <ac:picMk id="6" creationId="{57F6E0C5-A6D7-CE2A-2E07-80FEA04140BC}"/>
          </ac:picMkLst>
        </pc:picChg>
        <pc:picChg chg="add mod modCrop">
          <ac:chgData name="Kasey Elkin" userId="84f925f2-579a-4827-8dbe-4132fee3a4a8" providerId="ADAL" clId="{724CB732-B505-436A-8F51-ED8A31FC091A}" dt="2026-06-03T18:33:18.913" v="1409" actId="29295"/>
          <ac:picMkLst>
            <pc:docMk/>
            <pc:sldMk cId="2107707377" sldId="288"/>
            <ac:picMk id="7" creationId="{2413C1F3-0EE2-17C2-1A15-BC6B3BE0173B}"/>
          </ac:picMkLst>
        </pc:picChg>
        <pc:picChg chg="add mod ord">
          <ac:chgData name="Kasey Elkin" userId="84f925f2-579a-4827-8dbe-4132fee3a4a8" providerId="ADAL" clId="{724CB732-B505-436A-8F51-ED8A31FC091A}" dt="2026-06-03T18:32:08.337" v="1400" actId="167"/>
          <ac:picMkLst>
            <pc:docMk/>
            <pc:sldMk cId="2107707377" sldId="288"/>
            <ac:picMk id="9" creationId="{BE3AB50F-A5A8-C357-7E48-6699481D462A}"/>
          </ac:picMkLst>
        </pc:picChg>
      </pc:sldChg>
      <pc:sldChg chg="addSp modSp add mod">
        <pc:chgData name="Kasey Elkin" userId="84f925f2-579a-4827-8dbe-4132fee3a4a8" providerId="ADAL" clId="{724CB732-B505-436A-8F51-ED8A31FC091A}" dt="2026-06-04T00:21:58.272" v="3923" actId="948"/>
        <pc:sldMkLst>
          <pc:docMk/>
          <pc:sldMk cId="4232645961" sldId="289"/>
        </pc:sldMkLst>
        <pc:spChg chg="mod">
          <ac:chgData name="Kasey Elkin" userId="84f925f2-579a-4827-8dbe-4132fee3a4a8" providerId="ADAL" clId="{724CB732-B505-436A-8F51-ED8A31FC091A}" dt="2026-06-04T00:21:58.272" v="3923" actId="948"/>
          <ac:spMkLst>
            <pc:docMk/>
            <pc:sldMk cId="4232645961" sldId="289"/>
            <ac:spMk id="5" creationId="{4837C193-F786-EAA3-A0D5-0658F1395CEC}"/>
          </ac:spMkLst>
        </pc:spChg>
        <pc:spChg chg="add mod">
          <ac:chgData name="Kasey Elkin" userId="84f925f2-579a-4827-8dbe-4132fee3a4a8" providerId="ADAL" clId="{724CB732-B505-436A-8F51-ED8A31FC091A}" dt="2026-06-03T20:07:41.058" v="1716" actId="1076"/>
          <ac:spMkLst>
            <pc:docMk/>
            <pc:sldMk cId="4232645961" sldId="289"/>
            <ac:spMk id="6" creationId="{270547FC-571D-B9BD-7018-1F19C88B9E58}"/>
          </ac:spMkLst>
        </pc:spChg>
        <pc:spChg chg="mod">
          <ac:chgData name="Kasey Elkin" userId="84f925f2-579a-4827-8dbe-4132fee3a4a8" providerId="ADAL" clId="{724CB732-B505-436A-8F51-ED8A31FC091A}" dt="2026-06-03T20:08:13.632" v="1755" actId="122"/>
          <ac:spMkLst>
            <pc:docMk/>
            <pc:sldMk cId="4232645961" sldId="289"/>
            <ac:spMk id="12" creationId="{7C83CA11-0C64-B0CA-4474-78031EF715A5}"/>
          </ac:spMkLst>
        </pc:spChg>
        <pc:picChg chg="mod modCrop">
          <ac:chgData name="Kasey Elkin" userId="84f925f2-579a-4827-8dbe-4132fee3a4a8" providerId="ADAL" clId="{724CB732-B505-436A-8F51-ED8A31FC091A}" dt="2026-06-03T20:07:59.003" v="1751" actId="1076"/>
          <ac:picMkLst>
            <pc:docMk/>
            <pc:sldMk cId="4232645961" sldId="289"/>
            <ac:picMk id="9" creationId="{87A7123A-E20A-E184-7CC1-0D9980758AD5}"/>
          </ac:picMkLst>
        </pc:picChg>
        <pc:cxnChg chg="add mod">
          <ac:chgData name="Kasey Elkin" userId="84f925f2-579a-4827-8dbe-4132fee3a4a8" providerId="ADAL" clId="{724CB732-B505-436A-8F51-ED8A31FC091A}" dt="2026-06-03T20:07:41.058" v="1716" actId="1076"/>
          <ac:cxnSpMkLst>
            <pc:docMk/>
            <pc:sldMk cId="4232645961" sldId="289"/>
            <ac:cxnSpMk id="4" creationId="{7C595859-770F-941C-8DF0-B9038CEE394A}"/>
          </ac:cxnSpMkLst>
        </pc:cxnChg>
        <pc:cxnChg chg="mod">
          <ac:chgData name="Kasey Elkin" userId="84f925f2-579a-4827-8dbe-4132fee3a4a8" providerId="ADAL" clId="{724CB732-B505-436A-8F51-ED8A31FC091A}" dt="2026-06-03T20:08:06.392" v="1753" actId="14100"/>
          <ac:cxnSpMkLst>
            <pc:docMk/>
            <pc:sldMk cId="4232645961" sldId="289"/>
            <ac:cxnSpMk id="11" creationId="{A8A8A86A-8511-DD66-C9E8-B205C30DD152}"/>
          </ac:cxnSpMkLst>
        </pc:cxnChg>
      </pc:sldChg>
      <pc:sldChg chg="modSp add del mod">
        <pc:chgData name="Kasey Elkin" userId="84f925f2-579a-4827-8dbe-4132fee3a4a8" providerId="ADAL" clId="{724CB732-B505-436A-8F51-ED8A31FC091A}" dt="2026-06-03T23:43:43.026" v="2261" actId="47"/>
        <pc:sldMkLst>
          <pc:docMk/>
          <pc:sldMk cId="3689490798" sldId="290"/>
        </pc:sldMkLst>
        <pc:spChg chg="mod">
          <ac:chgData name="Kasey Elkin" userId="84f925f2-579a-4827-8dbe-4132fee3a4a8" providerId="ADAL" clId="{724CB732-B505-436A-8F51-ED8A31FC091A}" dt="2026-06-03T23:38:59.380" v="2200" actId="20577"/>
          <ac:spMkLst>
            <pc:docMk/>
            <pc:sldMk cId="3689490798" sldId="290"/>
            <ac:spMk id="2" creationId="{F7D396F2-4505-76A1-F85C-61D483576DBC}"/>
          </ac:spMkLst>
        </pc:spChg>
      </pc:sldChg>
      <pc:sldChg chg="modSp add del">
        <pc:chgData name="Kasey Elkin" userId="84f925f2-579a-4827-8dbe-4132fee3a4a8" providerId="ADAL" clId="{724CB732-B505-436A-8F51-ED8A31FC091A}" dt="2026-06-03T23:48:54.053" v="2310" actId="47"/>
        <pc:sldMkLst>
          <pc:docMk/>
          <pc:sldMk cId="3246468799" sldId="291"/>
        </pc:sldMkLst>
      </pc:sldChg>
      <pc:sldChg chg="modSp add del">
        <pc:chgData name="Kasey Elkin" userId="84f925f2-579a-4827-8dbe-4132fee3a4a8" providerId="ADAL" clId="{724CB732-B505-436A-8F51-ED8A31FC091A}" dt="2026-06-03T23:48:55.507" v="2312" actId="47"/>
        <pc:sldMkLst>
          <pc:docMk/>
          <pc:sldMk cId="111146388" sldId="292"/>
        </pc:sldMkLst>
      </pc:sldChg>
      <pc:sldChg chg="modSp add del">
        <pc:chgData name="Kasey Elkin" userId="84f925f2-579a-4827-8dbe-4132fee3a4a8" providerId="ADAL" clId="{724CB732-B505-436A-8F51-ED8A31FC091A}" dt="2026-06-03T23:48:54.864" v="2311" actId="47"/>
        <pc:sldMkLst>
          <pc:docMk/>
          <pc:sldMk cId="2709888834" sldId="293"/>
        </pc:sldMkLst>
      </pc:sldChg>
      <pc:sldChg chg="modSp add mod">
        <pc:chgData name="Kasey Elkin" userId="84f925f2-579a-4827-8dbe-4132fee3a4a8" providerId="ADAL" clId="{724CB732-B505-436A-8F51-ED8A31FC091A}" dt="2026-06-04T00:21:14.889" v="3918" actId="20577"/>
        <pc:sldMkLst>
          <pc:docMk/>
          <pc:sldMk cId="4288236430" sldId="294"/>
        </pc:sldMkLst>
        <pc:spChg chg="mod">
          <ac:chgData name="Kasey Elkin" userId="84f925f2-579a-4827-8dbe-4132fee3a4a8" providerId="ADAL" clId="{724CB732-B505-436A-8F51-ED8A31FC091A}" dt="2026-06-04T00:21:14.889" v="3918" actId="20577"/>
          <ac:spMkLst>
            <pc:docMk/>
            <pc:sldMk cId="4288236430" sldId="294"/>
            <ac:spMk id="5" creationId="{4837C193-F786-EAA3-A0D5-0658F1395CEC}"/>
          </ac:spMkLst>
        </pc:spChg>
        <pc:picChg chg="mod modCrop">
          <ac:chgData name="Kasey Elkin" userId="84f925f2-579a-4827-8dbe-4132fee3a4a8" providerId="ADAL" clId="{724CB732-B505-436A-8F51-ED8A31FC091A}" dt="2026-06-03T20:11:53.188" v="1878" actId="1076"/>
          <ac:picMkLst>
            <pc:docMk/>
            <pc:sldMk cId="4288236430" sldId="294"/>
            <ac:picMk id="11" creationId="{F3AC0AC1-F78D-84EA-FDFC-63B2ADBBF055}"/>
          </ac:picMkLst>
        </pc:picChg>
      </pc:sldChg>
      <pc:sldChg chg="modSp add mod">
        <pc:chgData name="Kasey Elkin" userId="84f925f2-579a-4827-8dbe-4132fee3a4a8" providerId="ADAL" clId="{724CB732-B505-436A-8F51-ED8A31FC091A}" dt="2026-06-04T00:22:14.241" v="3924" actId="20577"/>
        <pc:sldMkLst>
          <pc:docMk/>
          <pc:sldMk cId="232210487" sldId="295"/>
        </pc:sldMkLst>
        <pc:spChg chg="mod">
          <ac:chgData name="Kasey Elkin" userId="84f925f2-579a-4827-8dbe-4132fee3a4a8" providerId="ADAL" clId="{724CB732-B505-436A-8F51-ED8A31FC091A}" dt="2026-06-04T00:22:14.241" v="3924" actId="20577"/>
          <ac:spMkLst>
            <pc:docMk/>
            <pc:sldMk cId="232210487" sldId="295"/>
            <ac:spMk id="5" creationId="{4837C193-F786-EAA3-A0D5-0658F1395CEC}"/>
          </ac:spMkLst>
        </pc:spChg>
        <pc:picChg chg="mod modCrop">
          <ac:chgData name="Kasey Elkin" userId="84f925f2-579a-4827-8dbe-4132fee3a4a8" providerId="ADAL" clId="{724CB732-B505-436A-8F51-ED8A31FC091A}" dt="2026-06-03T20:14:53.798" v="2021" actId="1076"/>
          <ac:picMkLst>
            <pc:docMk/>
            <pc:sldMk cId="232210487" sldId="295"/>
            <ac:picMk id="9" creationId="{C979CD77-8E57-EB99-4C7D-B1A2B70563E1}"/>
          </ac:picMkLst>
        </pc:picChg>
      </pc:sldChg>
      <pc:sldChg chg="addSp modSp add mod">
        <pc:chgData name="Kasey Elkin" userId="84f925f2-579a-4827-8dbe-4132fee3a4a8" providerId="ADAL" clId="{724CB732-B505-436A-8F51-ED8A31FC091A}" dt="2026-06-04T00:22:49.698" v="3925" actId="1076"/>
        <pc:sldMkLst>
          <pc:docMk/>
          <pc:sldMk cId="2147701137" sldId="296"/>
        </pc:sldMkLst>
        <pc:spChg chg="mod">
          <ac:chgData name="Kasey Elkin" userId="84f925f2-579a-4827-8dbe-4132fee3a4a8" providerId="ADAL" clId="{724CB732-B505-436A-8F51-ED8A31FC091A}" dt="2026-06-03T20:16:07.339" v="2036" actId="1076"/>
          <ac:spMkLst>
            <pc:docMk/>
            <pc:sldMk cId="2147701137" sldId="296"/>
            <ac:spMk id="4" creationId="{B0228D13-58DC-7361-18AB-469C900D9AB3}"/>
          </ac:spMkLst>
        </pc:spChg>
        <pc:spChg chg="mod">
          <ac:chgData name="Kasey Elkin" userId="84f925f2-579a-4827-8dbe-4132fee3a4a8" providerId="ADAL" clId="{724CB732-B505-436A-8F51-ED8A31FC091A}" dt="2026-06-04T00:22:49.698" v="3925" actId="1076"/>
          <ac:spMkLst>
            <pc:docMk/>
            <pc:sldMk cId="2147701137" sldId="296"/>
            <ac:spMk id="5" creationId="{4837C193-F786-EAA3-A0D5-0658F1395CEC}"/>
          </ac:spMkLst>
        </pc:spChg>
        <pc:grpChg chg="add mod">
          <ac:chgData name="Kasey Elkin" userId="84f925f2-579a-4827-8dbe-4132fee3a4a8" providerId="ADAL" clId="{724CB732-B505-436A-8F51-ED8A31FC091A}" dt="2026-06-03T20:15:40.779" v="2033" actId="164"/>
          <ac:grpSpMkLst>
            <pc:docMk/>
            <pc:sldMk cId="2147701137" sldId="296"/>
            <ac:grpSpMk id="7" creationId="{055460BD-1519-17E9-5527-0DD842E4BE40}"/>
          </ac:grpSpMkLst>
        </pc:grpChg>
        <pc:picChg chg="mod">
          <ac:chgData name="Kasey Elkin" userId="84f925f2-579a-4827-8dbe-4132fee3a4a8" providerId="ADAL" clId="{724CB732-B505-436A-8F51-ED8A31FC091A}" dt="2026-06-03T20:15:51.601" v="2035" actId="1076"/>
          <ac:picMkLst>
            <pc:docMk/>
            <pc:sldMk cId="2147701137" sldId="296"/>
            <ac:picMk id="6" creationId="{BC7CAB64-9A9F-C074-5B01-331A6F46BF88}"/>
          </ac:picMkLst>
        </pc:picChg>
      </pc:sldChg>
      <pc:sldChg chg="modSp add mod">
        <pc:chgData name="Kasey Elkin" userId="84f925f2-579a-4827-8dbe-4132fee3a4a8" providerId="ADAL" clId="{724CB732-B505-436A-8F51-ED8A31FC091A}" dt="2026-06-04T00:23:44.201" v="4026" actId="20577"/>
        <pc:sldMkLst>
          <pc:docMk/>
          <pc:sldMk cId="4141154811" sldId="298"/>
        </pc:sldMkLst>
        <pc:spChg chg="mod">
          <ac:chgData name="Kasey Elkin" userId="84f925f2-579a-4827-8dbe-4132fee3a4a8" providerId="ADAL" clId="{724CB732-B505-436A-8F51-ED8A31FC091A}" dt="2026-06-03T20:19:31.811" v="2080" actId="1076"/>
          <ac:spMkLst>
            <pc:docMk/>
            <pc:sldMk cId="4141154811" sldId="298"/>
            <ac:spMk id="4" creationId="{8DBFF9B5-59B9-214D-FBE1-76249D3C9822}"/>
          </ac:spMkLst>
        </pc:spChg>
        <pc:spChg chg="mod">
          <ac:chgData name="Kasey Elkin" userId="84f925f2-579a-4827-8dbe-4132fee3a4a8" providerId="ADAL" clId="{724CB732-B505-436A-8F51-ED8A31FC091A}" dt="2026-06-04T00:23:44.201" v="4026" actId="20577"/>
          <ac:spMkLst>
            <pc:docMk/>
            <pc:sldMk cId="4141154811" sldId="298"/>
            <ac:spMk id="5" creationId="{4837C193-F786-EAA3-A0D5-0658F1395CEC}"/>
          </ac:spMkLst>
        </pc:spChg>
        <pc:picChg chg="mod modCrop">
          <ac:chgData name="Kasey Elkin" userId="84f925f2-579a-4827-8dbe-4132fee3a4a8" providerId="ADAL" clId="{724CB732-B505-436A-8F51-ED8A31FC091A}" dt="2026-06-03T20:19:28.602" v="2079" actId="1076"/>
          <ac:picMkLst>
            <pc:docMk/>
            <pc:sldMk cId="4141154811" sldId="298"/>
            <ac:picMk id="7" creationId="{F39A1726-963C-028F-88EA-27F8CFE27882}"/>
          </ac:picMkLst>
        </pc:picChg>
      </pc:sldChg>
      <pc:sldChg chg="modSp add mod">
        <pc:chgData name="Kasey Elkin" userId="84f925f2-579a-4827-8dbe-4132fee3a4a8" providerId="ADAL" clId="{724CB732-B505-436A-8F51-ED8A31FC091A}" dt="2026-06-04T00:23:54.411" v="4027" actId="1076"/>
        <pc:sldMkLst>
          <pc:docMk/>
          <pc:sldMk cId="33454810" sldId="299"/>
        </pc:sldMkLst>
        <pc:spChg chg="mod">
          <ac:chgData name="Kasey Elkin" userId="84f925f2-579a-4827-8dbe-4132fee3a4a8" providerId="ADAL" clId="{724CB732-B505-436A-8F51-ED8A31FC091A}" dt="2026-06-03T20:18:32.287" v="2064" actId="1076"/>
          <ac:spMkLst>
            <pc:docMk/>
            <pc:sldMk cId="33454810" sldId="299"/>
            <ac:spMk id="4" creationId="{E45BE14F-4D18-CF87-2356-C5510FEC02E5}"/>
          </ac:spMkLst>
        </pc:spChg>
        <pc:spChg chg="mod">
          <ac:chgData name="Kasey Elkin" userId="84f925f2-579a-4827-8dbe-4132fee3a4a8" providerId="ADAL" clId="{724CB732-B505-436A-8F51-ED8A31FC091A}" dt="2026-06-04T00:23:54.411" v="4027" actId="1076"/>
          <ac:spMkLst>
            <pc:docMk/>
            <pc:sldMk cId="33454810" sldId="299"/>
            <ac:spMk id="5" creationId="{4837C193-F786-EAA3-A0D5-0658F1395CEC}"/>
          </ac:spMkLst>
        </pc:spChg>
        <pc:picChg chg="mod modCrop">
          <ac:chgData name="Kasey Elkin" userId="84f925f2-579a-4827-8dbe-4132fee3a4a8" providerId="ADAL" clId="{724CB732-B505-436A-8F51-ED8A31FC091A}" dt="2026-06-03T20:18:28.160" v="2063" actId="1076"/>
          <ac:picMkLst>
            <pc:docMk/>
            <pc:sldMk cId="33454810" sldId="299"/>
            <ac:picMk id="6" creationId="{363DC7B9-72F3-F6DA-7C0E-8A32D8E284B6}"/>
          </ac:picMkLst>
        </pc:picChg>
      </pc:sldChg>
      <pc:sldChg chg="modSp add mod">
        <pc:chgData name="Kasey Elkin" userId="84f925f2-579a-4827-8dbe-4132fee3a4a8" providerId="ADAL" clId="{724CB732-B505-436A-8F51-ED8A31FC091A}" dt="2026-06-03T20:21:31.273" v="2100" actId="20577"/>
        <pc:sldMkLst>
          <pc:docMk/>
          <pc:sldMk cId="2122894487" sldId="300"/>
        </pc:sldMkLst>
        <pc:spChg chg="mod">
          <ac:chgData name="Kasey Elkin" userId="84f925f2-579a-4827-8dbe-4132fee3a4a8" providerId="ADAL" clId="{724CB732-B505-436A-8F51-ED8A31FC091A}" dt="2026-06-03T20:21:23.565" v="2098" actId="20577"/>
          <ac:spMkLst>
            <pc:docMk/>
            <pc:sldMk cId="2122894487" sldId="300"/>
            <ac:spMk id="2" creationId="{F7D396F2-4505-76A1-F85C-61D483576DBC}"/>
          </ac:spMkLst>
        </pc:spChg>
        <pc:spChg chg="mod">
          <ac:chgData name="Kasey Elkin" userId="84f925f2-579a-4827-8dbe-4132fee3a4a8" providerId="ADAL" clId="{724CB732-B505-436A-8F51-ED8A31FC091A}" dt="2026-06-03T20:21:31.273" v="2100" actId="20577"/>
          <ac:spMkLst>
            <pc:docMk/>
            <pc:sldMk cId="2122894487" sldId="300"/>
            <ac:spMk id="4" creationId="{3698D33A-A00B-3223-5CB7-18A0DF7685AC}"/>
          </ac:spMkLst>
        </pc:spChg>
      </pc:sldChg>
      <pc:sldChg chg="addSp delSp modSp add mod">
        <pc:chgData name="Kasey Elkin" userId="84f925f2-579a-4827-8dbe-4132fee3a4a8" providerId="ADAL" clId="{724CB732-B505-436A-8F51-ED8A31FC091A}" dt="2026-06-03T16:10:43.957" v="705" actId="14100"/>
        <pc:sldMkLst>
          <pc:docMk/>
          <pc:sldMk cId="551867237" sldId="302"/>
        </pc:sldMkLst>
        <pc:spChg chg="mod">
          <ac:chgData name="Kasey Elkin" userId="84f925f2-579a-4827-8dbe-4132fee3a4a8" providerId="ADAL" clId="{724CB732-B505-436A-8F51-ED8A31FC091A}" dt="2026-06-03T16:10:30.938" v="703" actId="20577"/>
          <ac:spMkLst>
            <pc:docMk/>
            <pc:sldMk cId="551867237" sldId="302"/>
            <ac:spMk id="3" creationId="{5EDA0874-6802-9F65-C482-D578D09A1A36}"/>
          </ac:spMkLst>
        </pc:spChg>
        <pc:picChg chg="add mod modCrop">
          <ac:chgData name="Kasey Elkin" userId="84f925f2-579a-4827-8dbe-4132fee3a4a8" providerId="ADAL" clId="{724CB732-B505-436A-8F51-ED8A31FC091A}" dt="2026-06-03T16:10:43.957" v="705" actId="14100"/>
          <ac:picMkLst>
            <pc:docMk/>
            <pc:sldMk cId="551867237" sldId="302"/>
            <ac:picMk id="5" creationId="{61841310-A088-C874-60B1-106F11D5D468}"/>
          </ac:picMkLst>
        </pc:picChg>
        <pc:picChg chg="del mod">
          <ac:chgData name="Kasey Elkin" userId="84f925f2-579a-4827-8dbe-4132fee3a4a8" providerId="ADAL" clId="{724CB732-B505-436A-8F51-ED8A31FC091A}" dt="2026-06-03T15:01:25.837" v="557" actId="478"/>
          <ac:picMkLst>
            <pc:docMk/>
            <pc:sldMk cId="551867237" sldId="302"/>
            <ac:picMk id="8" creationId="{4AEE6F02-93DF-C8D4-3F10-23B542C2B9D9}"/>
          </ac:picMkLst>
        </pc:picChg>
      </pc:sldChg>
      <pc:sldChg chg="modSp add mod">
        <pc:chgData name="Kasey Elkin" userId="84f925f2-579a-4827-8dbe-4132fee3a4a8" providerId="ADAL" clId="{724CB732-B505-436A-8F51-ED8A31FC091A}" dt="2026-06-03T18:15:05.878" v="1360" actId="20577"/>
        <pc:sldMkLst>
          <pc:docMk/>
          <pc:sldMk cId="269490048" sldId="303"/>
        </pc:sldMkLst>
        <pc:spChg chg="mod">
          <ac:chgData name="Kasey Elkin" userId="84f925f2-579a-4827-8dbe-4132fee3a4a8" providerId="ADAL" clId="{724CB732-B505-436A-8F51-ED8A31FC091A}" dt="2026-06-02T16:43:37.858" v="370" actId="14100"/>
          <ac:spMkLst>
            <pc:docMk/>
            <pc:sldMk cId="269490048" sldId="303"/>
            <ac:spMk id="2" creationId="{918A713C-DD3E-2518-7F9A-BE2180F5CE58}"/>
          </ac:spMkLst>
        </pc:spChg>
        <pc:spChg chg="mod">
          <ac:chgData name="Kasey Elkin" userId="84f925f2-579a-4827-8dbe-4132fee3a4a8" providerId="ADAL" clId="{724CB732-B505-436A-8F51-ED8A31FC091A}" dt="2026-06-03T18:15:05.878" v="1360" actId="20577"/>
          <ac:spMkLst>
            <pc:docMk/>
            <pc:sldMk cId="269490048" sldId="303"/>
            <ac:spMk id="3" creationId="{A4458211-147E-4F80-FAEA-47D579A9117A}"/>
          </ac:spMkLst>
        </pc:spChg>
        <pc:picChg chg="mod modCrop">
          <ac:chgData name="Kasey Elkin" userId="84f925f2-579a-4827-8dbe-4132fee3a4a8" providerId="ADAL" clId="{724CB732-B505-436A-8F51-ED8A31FC091A}" dt="2026-06-02T16:46:29.128" v="440" actId="1076"/>
          <ac:picMkLst>
            <pc:docMk/>
            <pc:sldMk cId="269490048" sldId="303"/>
            <ac:picMk id="5" creationId="{5CA9C63A-090D-5C52-D1E5-F72FC84B3CAC}"/>
          </ac:picMkLst>
        </pc:picChg>
        <pc:picChg chg="mod">
          <ac:chgData name="Kasey Elkin" userId="84f925f2-579a-4827-8dbe-4132fee3a4a8" providerId="ADAL" clId="{724CB732-B505-436A-8F51-ED8A31FC091A}" dt="2026-06-02T16:46:45.023" v="442" actId="1076"/>
          <ac:picMkLst>
            <pc:docMk/>
            <pc:sldMk cId="269490048" sldId="303"/>
            <ac:picMk id="7" creationId="{6356F1DE-83A8-C5A7-9EDB-854CA7E79D64}"/>
          </ac:picMkLst>
        </pc:picChg>
      </pc:sldChg>
      <pc:sldChg chg="add del mod modShow">
        <pc:chgData name="Kasey Elkin" userId="84f925f2-579a-4827-8dbe-4132fee3a4a8" providerId="ADAL" clId="{724CB732-B505-436A-8F51-ED8A31FC091A}" dt="2026-06-03T18:33:37.286" v="1410" actId="2696"/>
        <pc:sldMkLst>
          <pc:docMk/>
          <pc:sldMk cId="1011183336" sldId="305"/>
        </pc:sldMkLst>
      </pc:sldChg>
      <pc:sldChg chg="addSp modSp add mod">
        <pc:chgData name="Kasey Elkin" userId="84f925f2-579a-4827-8dbe-4132fee3a4a8" providerId="ADAL" clId="{724CB732-B505-436A-8F51-ED8A31FC091A}" dt="2026-06-04T00:38:40.709" v="4278" actId="20577"/>
        <pc:sldMkLst>
          <pc:docMk/>
          <pc:sldMk cId="3236138173" sldId="306"/>
        </pc:sldMkLst>
        <pc:spChg chg="mod">
          <ac:chgData name="Kasey Elkin" userId="84f925f2-579a-4827-8dbe-4132fee3a4a8" providerId="ADAL" clId="{724CB732-B505-436A-8F51-ED8A31FC091A}" dt="2026-06-04T00:38:40.709" v="4278" actId="20577"/>
          <ac:spMkLst>
            <pc:docMk/>
            <pc:sldMk cId="3236138173" sldId="306"/>
            <ac:spMk id="14" creationId="{1BBFF45D-76EE-DC1F-BD91-0BCDA37C0B3C}"/>
          </ac:spMkLst>
        </pc:spChg>
        <pc:spChg chg="mod">
          <ac:chgData name="Kasey Elkin" userId="84f925f2-579a-4827-8dbe-4132fee3a4a8" providerId="ADAL" clId="{724CB732-B505-436A-8F51-ED8A31FC091A}" dt="2026-06-03T19:45:15.498" v="1473" actId="1076"/>
          <ac:spMkLst>
            <pc:docMk/>
            <pc:sldMk cId="3236138173" sldId="306"/>
            <ac:spMk id="21" creationId="{3E490F02-A980-B18E-470E-754E5D54793E}"/>
          </ac:spMkLst>
        </pc:spChg>
        <pc:spChg chg="mod">
          <ac:chgData name="Kasey Elkin" userId="84f925f2-579a-4827-8dbe-4132fee3a4a8" providerId="ADAL" clId="{724CB732-B505-436A-8F51-ED8A31FC091A}" dt="2026-06-03T19:45:32.306" v="1478" actId="1076"/>
          <ac:spMkLst>
            <pc:docMk/>
            <pc:sldMk cId="3236138173" sldId="306"/>
            <ac:spMk id="22" creationId="{5E7206C4-88B1-7FB3-0D62-E178CFE378F3}"/>
          </ac:spMkLst>
        </pc:spChg>
        <pc:grpChg chg="add mod">
          <ac:chgData name="Kasey Elkin" userId="84f925f2-579a-4827-8dbe-4132fee3a4a8" providerId="ADAL" clId="{724CB732-B505-436A-8F51-ED8A31FC091A}" dt="2026-06-03T19:45:48.784" v="1492" actId="1076"/>
          <ac:grpSpMkLst>
            <pc:docMk/>
            <pc:sldMk cId="3236138173" sldId="306"/>
            <ac:grpSpMk id="3" creationId="{F8DDF077-2022-3710-CCA2-10BAB8E1207E}"/>
          </ac:grpSpMkLst>
        </pc:grpChg>
        <pc:picChg chg="mod modCrop">
          <ac:chgData name="Kasey Elkin" userId="84f925f2-579a-4827-8dbe-4132fee3a4a8" providerId="ADAL" clId="{724CB732-B505-436A-8F51-ED8A31FC091A}" dt="2026-06-03T19:45:05.027" v="1470" actId="732"/>
          <ac:picMkLst>
            <pc:docMk/>
            <pc:sldMk cId="3236138173" sldId="306"/>
            <ac:picMk id="13" creationId="{CE91A01C-4DCC-5D56-4FFA-878FA36D1761}"/>
          </ac:picMkLst>
        </pc:picChg>
        <pc:cxnChg chg="mod">
          <ac:chgData name="Kasey Elkin" userId="84f925f2-579a-4827-8dbe-4132fee3a4a8" providerId="ADAL" clId="{724CB732-B505-436A-8F51-ED8A31FC091A}" dt="2026-06-03T19:45:18.557" v="1474" actId="14100"/>
          <ac:cxnSpMkLst>
            <pc:docMk/>
            <pc:sldMk cId="3236138173" sldId="306"/>
            <ac:cxnSpMk id="20" creationId="{95C0AC4E-4983-9A69-16EE-5C97B01AE2DC}"/>
          </ac:cxnSpMkLst>
        </pc:cxnChg>
      </pc:sldChg>
      <pc:sldChg chg="addSp delSp modSp add mod modAnim">
        <pc:chgData name="Kasey Elkin" userId="84f925f2-579a-4827-8dbe-4132fee3a4a8" providerId="ADAL" clId="{724CB732-B505-436A-8F51-ED8A31FC091A}" dt="2026-06-04T00:39:20.001" v="4279" actId="14100"/>
        <pc:sldMkLst>
          <pc:docMk/>
          <pc:sldMk cId="982601594" sldId="307"/>
        </pc:sldMkLst>
        <pc:spChg chg="del">
          <ac:chgData name="Kasey Elkin" userId="84f925f2-579a-4827-8dbe-4132fee3a4a8" providerId="ADAL" clId="{724CB732-B505-436A-8F51-ED8A31FC091A}" dt="2026-06-03T19:50:54.915" v="1550" actId="478"/>
          <ac:spMkLst>
            <pc:docMk/>
            <pc:sldMk cId="982601594" sldId="307"/>
            <ac:spMk id="4" creationId="{933A46AE-AD48-F72D-AF6F-D302E9C0F18E}"/>
          </ac:spMkLst>
        </pc:spChg>
        <pc:spChg chg="del">
          <ac:chgData name="Kasey Elkin" userId="84f925f2-579a-4827-8dbe-4132fee3a4a8" providerId="ADAL" clId="{724CB732-B505-436A-8F51-ED8A31FC091A}" dt="2026-06-03T19:50:54.915" v="1550" actId="478"/>
          <ac:spMkLst>
            <pc:docMk/>
            <pc:sldMk cId="982601594" sldId="307"/>
            <ac:spMk id="5" creationId="{B0089AC0-F0CF-1136-6633-22B435501B53}"/>
          </ac:spMkLst>
        </pc:spChg>
        <pc:spChg chg="del">
          <ac:chgData name="Kasey Elkin" userId="84f925f2-579a-4827-8dbe-4132fee3a4a8" providerId="ADAL" clId="{724CB732-B505-436A-8F51-ED8A31FC091A}" dt="2026-06-03T19:50:54.915" v="1550" actId="478"/>
          <ac:spMkLst>
            <pc:docMk/>
            <pc:sldMk cId="982601594" sldId="307"/>
            <ac:spMk id="6" creationId="{B93A72FA-448C-15C2-CE4C-E24D601EB344}"/>
          </ac:spMkLst>
        </pc:spChg>
        <pc:spChg chg="mod">
          <ac:chgData name="Kasey Elkin" userId="84f925f2-579a-4827-8dbe-4132fee3a4a8" providerId="ADAL" clId="{724CB732-B505-436A-8F51-ED8A31FC091A}" dt="2026-06-03T20:02:42.435" v="1655" actId="14100"/>
          <ac:spMkLst>
            <pc:docMk/>
            <pc:sldMk cId="982601594" sldId="307"/>
            <ac:spMk id="9" creationId="{12285A6A-398C-DE27-7E79-F4E42C57AD19}"/>
          </ac:spMkLst>
        </pc:spChg>
        <pc:spChg chg="del">
          <ac:chgData name="Kasey Elkin" userId="84f925f2-579a-4827-8dbe-4132fee3a4a8" providerId="ADAL" clId="{724CB732-B505-436A-8F51-ED8A31FC091A}" dt="2026-06-03T19:50:54.915" v="1550" actId="478"/>
          <ac:spMkLst>
            <pc:docMk/>
            <pc:sldMk cId="982601594" sldId="307"/>
            <ac:spMk id="15" creationId="{A02AAF2C-7E0A-F817-D0E6-757DC1A28D24}"/>
          </ac:spMkLst>
        </pc:spChg>
        <pc:spChg chg="add mod">
          <ac:chgData name="Kasey Elkin" userId="84f925f2-579a-4827-8dbe-4132fee3a4a8" providerId="ADAL" clId="{724CB732-B505-436A-8F51-ED8A31FC091A}" dt="2026-06-03T20:02:42.435" v="1655" actId="14100"/>
          <ac:spMkLst>
            <pc:docMk/>
            <pc:sldMk cId="982601594" sldId="307"/>
            <ac:spMk id="26" creationId="{5C0E3A1D-A1EB-D564-FD69-CE117AD59576}"/>
          </ac:spMkLst>
        </pc:spChg>
        <pc:grpChg chg="add mod">
          <ac:chgData name="Kasey Elkin" userId="84f925f2-579a-4827-8dbe-4132fee3a4a8" providerId="ADAL" clId="{724CB732-B505-436A-8F51-ED8A31FC091A}" dt="2026-06-03T19:58:12.801" v="1602" actId="1076"/>
          <ac:grpSpMkLst>
            <pc:docMk/>
            <pc:sldMk cId="982601594" sldId="307"/>
            <ac:grpSpMk id="19" creationId="{4777A50E-C4A2-640A-09E8-859EA66AA9C1}"/>
          </ac:grpSpMkLst>
        </pc:grpChg>
        <pc:grpChg chg="add mod">
          <ac:chgData name="Kasey Elkin" userId="84f925f2-579a-4827-8dbe-4132fee3a4a8" providerId="ADAL" clId="{724CB732-B505-436A-8F51-ED8A31FC091A}" dt="2026-06-03T19:58:06.531" v="1600" actId="1076"/>
          <ac:grpSpMkLst>
            <pc:docMk/>
            <pc:sldMk cId="982601594" sldId="307"/>
            <ac:grpSpMk id="20" creationId="{9C79BB14-E9FF-DE5C-96E2-428729CA02E5}"/>
          </ac:grpSpMkLst>
        </pc:grpChg>
        <pc:grpChg chg="add mod ord">
          <ac:chgData name="Kasey Elkin" userId="84f925f2-579a-4827-8dbe-4132fee3a4a8" providerId="ADAL" clId="{724CB732-B505-436A-8F51-ED8A31FC091A}" dt="2026-06-03T20:01:03.212" v="1638" actId="1076"/>
          <ac:grpSpMkLst>
            <pc:docMk/>
            <pc:sldMk cId="982601594" sldId="307"/>
            <ac:grpSpMk id="25" creationId="{5AFF1FD7-DC15-98E2-A38F-33FB57C31AE7}"/>
          </ac:grpSpMkLst>
        </pc:grpChg>
        <pc:grpChg chg="add mod">
          <ac:chgData name="Kasey Elkin" userId="84f925f2-579a-4827-8dbe-4132fee3a4a8" providerId="ADAL" clId="{724CB732-B505-436A-8F51-ED8A31FC091A}" dt="2026-06-03T20:02:42.435" v="1655" actId="14100"/>
          <ac:grpSpMkLst>
            <pc:docMk/>
            <pc:sldMk cId="982601594" sldId="307"/>
            <ac:grpSpMk id="33" creationId="{48D1025E-7E2A-AFB7-D600-E0F5F1357428}"/>
          </ac:grpSpMkLst>
        </pc:grpChg>
        <pc:picChg chg="del">
          <ac:chgData name="Kasey Elkin" userId="84f925f2-579a-4827-8dbe-4132fee3a4a8" providerId="ADAL" clId="{724CB732-B505-436A-8F51-ED8A31FC091A}" dt="2026-06-03T19:50:50.243" v="1549" actId="478"/>
          <ac:picMkLst>
            <pc:docMk/>
            <pc:sldMk cId="982601594" sldId="307"/>
            <ac:picMk id="3" creationId="{19E41149-3251-1F0D-EC84-3EBDB3246B94}"/>
          </ac:picMkLst>
        </pc:picChg>
        <pc:picChg chg="add mod modCrop">
          <ac:chgData name="Kasey Elkin" userId="84f925f2-579a-4827-8dbe-4132fee3a4a8" providerId="ADAL" clId="{724CB732-B505-436A-8F51-ED8A31FC091A}" dt="2026-06-03T19:58:01.196" v="1599" actId="732"/>
          <ac:picMkLst>
            <pc:docMk/>
            <pc:sldMk cId="982601594" sldId="307"/>
            <ac:picMk id="11" creationId="{B2DE432F-4261-9EBA-E825-8E3A04D4300C}"/>
          </ac:picMkLst>
        </pc:picChg>
        <pc:picChg chg="add mod modCrop">
          <ac:chgData name="Kasey Elkin" userId="84f925f2-579a-4827-8dbe-4132fee3a4a8" providerId="ADAL" clId="{724CB732-B505-436A-8F51-ED8A31FC091A}" dt="2026-06-03T19:58:51.663" v="1614" actId="14100"/>
          <ac:picMkLst>
            <pc:docMk/>
            <pc:sldMk cId="982601594" sldId="307"/>
            <ac:picMk id="13" creationId="{34BDACBE-D8AF-64E3-CE48-ADA571A1FB7F}"/>
          </ac:picMkLst>
        </pc:picChg>
        <pc:picChg chg="add mod modCrop">
          <ac:chgData name="Kasey Elkin" userId="84f925f2-579a-4827-8dbe-4132fee3a4a8" providerId="ADAL" clId="{724CB732-B505-436A-8F51-ED8A31FC091A}" dt="2026-06-03T19:57:53.860" v="1598" actId="732"/>
          <ac:picMkLst>
            <pc:docMk/>
            <pc:sldMk cId="982601594" sldId="307"/>
            <ac:picMk id="16" creationId="{6295AD7C-1D3E-017D-0AD8-F64C38F8E69D}"/>
          </ac:picMkLst>
        </pc:picChg>
        <pc:picChg chg="add mod">
          <ac:chgData name="Kasey Elkin" userId="84f925f2-579a-4827-8dbe-4132fee3a4a8" providerId="ADAL" clId="{724CB732-B505-436A-8F51-ED8A31FC091A}" dt="2026-06-04T00:39:20.001" v="4279" actId="14100"/>
          <ac:picMkLst>
            <pc:docMk/>
            <pc:sldMk cId="982601594" sldId="307"/>
            <ac:picMk id="18" creationId="{2D998609-FE76-915E-C29D-AF4A9EEF734A}"/>
          </ac:picMkLst>
        </pc:picChg>
        <pc:picChg chg="add mod modCrop">
          <ac:chgData name="Kasey Elkin" userId="84f925f2-579a-4827-8dbe-4132fee3a4a8" providerId="ADAL" clId="{724CB732-B505-436A-8F51-ED8A31FC091A}" dt="2026-06-03T19:57:47.271" v="1597" actId="732"/>
          <ac:picMkLst>
            <pc:docMk/>
            <pc:sldMk cId="982601594" sldId="307"/>
            <ac:picMk id="22" creationId="{73293B10-9657-9BCE-5F4C-362422A200B2}"/>
          </ac:picMkLst>
        </pc:picChg>
        <pc:picChg chg="add mod">
          <ac:chgData name="Kasey Elkin" userId="84f925f2-579a-4827-8dbe-4132fee3a4a8" providerId="ADAL" clId="{724CB732-B505-436A-8F51-ED8A31FC091A}" dt="2026-06-03T19:59:03.936" v="1616" actId="14100"/>
          <ac:picMkLst>
            <pc:docMk/>
            <pc:sldMk cId="982601594" sldId="307"/>
            <ac:picMk id="24" creationId="{2104B8E2-7636-52F7-EDAF-825D89FD8489}"/>
          </ac:picMkLst>
        </pc:picChg>
        <pc:cxnChg chg="del">
          <ac:chgData name="Kasey Elkin" userId="84f925f2-579a-4827-8dbe-4132fee3a4a8" providerId="ADAL" clId="{724CB732-B505-436A-8F51-ED8A31FC091A}" dt="2026-06-03T19:50:54.915" v="1550" actId="478"/>
          <ac:cxnSpMkLst>
            <pc:docMk/>
            <pc:sldMk cId="982601594" sldId="307"/>
            <ac:cxnSpMk id="8" creationId="{2C0A076C-F4D3-6533-2BC0-6E551D9C5A34}"/>
          </ac:cxnSpMkLst>
        </pc:cxnChg>
        <pc:cxnChg chg="del mod">
          <ac:chgData name="Kasey Elkin" userId="84f925f2-579a-4827-8dbe-4132fee3a4a8" providerId="ADAL" clId="{724CB732-B505-436A-8F51-ED8A31FC091A}" dt="2026-06-03T19:50:54.915" v="1550" actId="478"/>
          <ac:cxnSpMkLst>
            <pc:docMk/>
            <pc:sldMk cId="982601594" sldId="307"/>
            <ac:cxnSpMk id="10" creationId="{07C761CD-CBA2-60B7-33BF-1D1AFD2BF617}"/>
          </ac:cxnSpMkLst>
        </pc:cxnChg>
        <pc:cxnChg chg="add mod">
          <ac:chgData name="Kasey Elkin" userId="84f925f2-579a-4827-8dbe-4132fee3a4a8" providerId="ADAL" clId="{724CB732-B505-436A-8F51-ED8A31FC091A}" dt="2026-06-03T20:02:42.435" v="1655" actId="14100"/>
          <ac:cxnSpMkLst>
            <pc:docMk/>
            <pc:sldMk cId="982601594" sldId="307"/>
            <ac:cxnSpMk id="28" creationId="{C09598D9-F9D1-C593-EE3D-FEDBDFD8DC8F}"/>
          </ac:cxnSpMkLst>
        </pc:cxnChg>
      </pc:sldChg>
      <pc:sldChg chg="addSp delSp modSp add mod">
        <pc:chgData name="Kasey Elkin" userId="84f925f2-579a-4827-8dbe-4132fee3a4a8" providerId="ADAL" clId="{724CB732-B505-436A-8F51-ED8A31FC091A}" dt="2026-06-04T00:31:30.274" v="4156" actId="20577"/>
        <pc:sldMkLst>
          <pc:docMk/>
          <pc:sldMk cId="1413892074" sldId="308"/>
        </pc:sldMkLst>
        <pc:spChg chg="mod">
          <ac:chgData name="Kasey Elkin" userId="84f925f2-579a-4827-8dbe-4132fee3a4a8" providerId="ADAL" clId="{724CB732-B505-436A-8F51-ED8A31FC091A}" dt="2026-06-03T16:31:38.705" v="882" actId="1038"/>
          <ac:spMkLst>
            <pc:docMk/>
            <pc:sldMk cId="1413892074" sldId="308"/>
            <ac:spMk id="17" creationId="{86A3809B-BE95-FDDA-3946-DAC130CD4EAE}"/>
          </ac:spMkLst>
        </pc:spChg>
        <pc:spChg chg="del mod">
          <ac:chgData name="Kasey Elkin" userId="84f925f2-579a-4827-8dbe-4132fee3a4a8" providerId="ADAL" clId="{724CB732-B505-436A-8F51-ED8A31FC091A}" dt="2026-06-03T16:27:17.191" v="834" actId="478"/>
          <ac:spMkLst>
            <pc:docMk/>
            <pc:sldMk cId="1413892074" sldId="308"/>
            <ac:spMk id="19" creationId="{8CFF762F-95ED-BA84-2C05-7C19221650C3}"/>
          </ac:spMkLst>
        </pc:spChg>
        <pc:spChg chg="mod">
          <ac:chgData name="Kasey Elkin" userId="84f925f2-579a-4827-8dbe-4132fee3a4a8" providerId="ADAL" clId="{724CB732-B505-436A-8F51-ED8A31FC091A}" dt="2026-06-04T00:31:30.274" v="4156" actId="20577"/>
          <ac:spMkLst>
            <pc:docMk/>
            <pc:sldMk cId="1413892074" sldId="308"/>
            <ac:spMk id="20" creationId="{5ECA0F79-97C0-06BC-9B19-B6091A649ACD}"/>
          </ac:spMkLst>
        </pc:spChg>
        <pc:spChg chg="mod">
          <ac:chgData name="Kasey Elkin" userId="84f925f2-579a-4827-8dbe-4132fee3a4a8" providerId="ADAL" clId="{724CB732-B505-436A-8F51-ED8A31FC091A}" dt="2026-06-03T16:33:47.854" v="906" actId="1076"/>
          <ac:spMkLst>
            <pc:docMk/>
            <pc:sldMk cId="1413892074" sldId="308"/>
            <ac:spMk id="21" creationId="{1D099132-4039-D7E4-22E4-FDBAAFAA134B}"/>
          </ac:spMkLst>
        </pc:spChg>
        <pc:spChg chg="mod">
          <ac:chgData name="Kasey Elkin" userId="84f925f2-579a-4827-8dbe-4132fee3a4a8" providerId="ADAL" clId="{724CB732-B505-436A-8F51-ED8A31FC091A}" dt="2026-06-03T16:32:28.879" v="891" actId="1076"/>
          <ac:spMkLst>
            <pc:docMk/>
            <pc:sldMk cId="1413892074" sldId="308"/>
            <ac:spMk id="28" creationId="{C762637D-8914-F4FE-1F74-73A913590FCA}"/>
          </ac:spMkLst>
        </pc:spChg>
        <pc:spChg chg="mod">
          <ac:chgData name="Kasey Elkin" userId="84f925f2-579a-4827-8dbe-4132fee3a4a8" providerId="ADAL" clId="{724CB732-B505-436A-8F51-ED8A31FC091A}" dt="2026-06-03T16:32:18.794" v="890" actId="1076"/>
          <ac:spMkLst>
            <pc:docMk/>
            <pc:sldMk cId="1413892074" sldId="308"/>
            <ac:spMk id="29" creationId="{DA887068-E6B0-F337-76B8-3B911B91E828}"/>
          </ac:spMkLst>
        </pc:spChg>
        <pc:graphicFrameChg chg="add mod">
          <ac:chgData name="Kasey Elkin" userId="84f925f2-579a-4827-8dbe-4132fee3a4a8" providerId="ADAL" clId="{724CB732-B505-436A-8F51-ED8A31FC091A}" dt="2026-06-03T16:30:54.298" v="864"/>
          <ac:graphicFrameMkLst>
            <pc:docMk/>
            <pc:sldMk cId="1413892074" sldId="308"/>
            <ac:graphicFrameMk id="5" creationId="{F9458DA6-225E-4CB3-8B32-EBF7A62CA9CB}"/>
          </ac:graphicFrameMkLst>
        </pc:graphicFrameChg>
        <pc:graphicFrameChg chg="add mod">
          <ac:chgData name="Kasey Elkin" userId="84f925f2-579a-4827-8dbe-4132fee3a4a8" providerId="ADAL" clId="{724CB732-B505-436A-8F51-ED8A31FC091A}" dt="2026-06-03T16:33:07.173" v="895"/>
          <ac:graphicFrameMkLst>
            <pc:docMk/>
            <pc:sldMk cId="1413892074" sldId="308"/>
            <ac:graphicFrameMk id="14" creationId="{6F045F6F-5CC6-4F40-9739-B37C83A4A36E}"/>
          </ac:graphicFrameMkLst>
        </pc:graphicFrameChg>
        <pc:picChg chg="add del mod ord modCrop">
          <ac:chgData name="Kasey Elkin" userId="84f925f2-579a-4827-8dbe-4132fee3a4a8" providerId="ADAL" clId="{724CB732-B505-436A-8F51-ED8A31FC091A}" dt="2026-06-03T16:33:04.945" v="892" actId="478"/>
          <ac:picMkLst>
            <pc:docMk/>
            <pc:sldMk cId="1413892074" sldId="308"/>
            <ac:picMk id="3" creationId="{F064153C-FB1E-5E87-E015-D872808288FB}"/>
          </ac:picMkLst>
        </pc:picChg>
        <pc:picChg chg="add mod ord modCrop">
          <ac:chgData name="Kasey Elkin" userId="84f925f2-579a-4827-8dbe-4132fee3a4a8" providerId="ADAL" clId="{724CB732-B505-436A-8F51-ED8A31FC091A}" dt="2026-06-03T16:31:21.845" v="873" actId="167"/>
          <ac:picMkLst>
            <pc:docMk/>
            <pc:sldMk cId="1413892074" sldId="308"/>
            <ac:picMk id="7" creationId="{C2D13260-A466-3008-1056-B331721189EC}"/>
          </ac:picMkLst>
        </pc:picChg>
        <pc:picChg chg="del mod">
          <ac:chgData name="Kasey Elkin" userId="84f925f2-579a-4827-8dbe-4132fee3a4a8" providerId="ADAL" clId="{724CB732-B505-436A-8F51-ED8A31FC091A}" dt="2026-06-03T16:29:18.569" v="844" actId="478"/>
          <ac:picMkLst>
            <pc:docMk/>
            <pc:sldMk cId="1413892074" sldId="308"/>
            <ac:picMk id="9" creationId="{A30080C5-C3D6-621F-3399-056F365B075F}"/>
          </ac:picMkLst>
        </pc:picChg>
        <pc:picChg chg="del mod">
          <ac:chgData name="Kasey Elkin" userId="84f925f2-579a-4827-8dbe-4132fee3a4a8" providerId="ADAL" clId="{724CB732-B505-436A-8F51-ED8A31FC091A}" dt="2026-06-03T16:30:48.625" v="860" actId="478"/>
          <ac:picMkLst>
            <pc:docMk/>
            <pc:sldMk cId="1413892074" sldId="308"/>
            <ac:picMk id="13" creationId="{58FBA66D-23FC-AD22-2692-F11849046232}"/>
          </ac:picMkLst>
        </pc:picChg>
        <pc:picChg chg="add mod ord modCrop">
          <ac:chgData name="Kasey Elkin" userId="84f925f2-579a-4827-8dbe-4132fee3a4a8" providerId="ADAL" clId="{724CB732-B505-436A-8F51-ED8A31FC091A}" dt="2026-06-03T16:33:40.799" v="904" actId="167"/>
          <ac:picMkLst>
            <pc:docMk/>
            <pc:sldMk cId="1413892074" sldId="308"/>
            <ac:picMk id="18" creationId="{72D341A8-554B-2EE1-D9D1-BDCEBDAD6F2F}"/>
          </ac:picMkLst>
        </pc:picChg>
        <pc:cxnChg chg="del">
          <ac:chgData name="Kasey Elkin" userId="84f925f2-579a-4827-8dbe-4132fee3a4a8" providerId="ADAL" clId="{724CB732-B505-436A-8F51-ED8A31FC091A}" dt="2026-06-03T16:30:50.608" v="861" actId="478"/>
          <ac:cxnSpMkLst>
            <pc:docMk/>
            <pc:sldMk cId="1413892074" sldId="308"/>
            <ac:cxnSpMk id="15" creationId="{16CE0D5C-1754-9CFE-7004-6B9333867A38}"/>
          </ac:cxnSpMkLst>
        </pc:cxnChg>
        <pc:cxnChg chg="del">
          <ac:chgData name="Kasey Elkin" userId="84f925f2-579a-4827-8dbe-4132fee3a4a8" providerId="ADAL" clId="{724CB732-B505-436A-8F51-ED8A31FC091A}" dt="2026-06-03T16:29:42.493" v="851" actId="478"/>
          <ac:cxnSpMkLst>
            <pc:docMk/>
            <pc:sldMk cId="1413892074" sldId="308"/>
            <ac:cxnSpMk id="22" creationId="{F9897C21-4BAB-824B-6863-6E5C02393A1F}"/>
          </ac:cxnSpMkLst>
        </pc:cxnChg>
        <pc:cxnChg chg="mod">
          <ac:chgData name="Kasey Elkin" userId="84f925f2-579a-4827-8dbe-4132fee3a4a8" providerId="ADAL" clId="{724CB732-B505-436A-8F51-ED8A31FC091A}" dt="2026-06-03T16:33:51.071" v="907" actId="1076"/>
          <ac:cxnSpMkLst>
            <pc:docMk/>
            <pc:sldMk cId="1413892074" sldId="308"/>
            <ac:cxnSpMk id="23" creationId="{2A78051B-3970-63BC-86D7-77B7A08F6C00}"/>
          </ac:cxnSpMkLst>
        </pc:cxnChg>
        <pc:cxnChg chg="mod">
          <ac:chgData name="Kasey Elkin" userId="84f925f2-579a-4827-8dbe-4132fee3a4a8" providerId="ADAL" clId="{724CB732-B505-436A-8F51-ED8A31FC091A}" dt="2026-06-03T16:32:00.805" v="886" actId="14100"/>
          <ac:cxnSpMkLst>
            <pc:docMk/>
            <pc:sldMk cId="1413892074" sldId="308"/>
            <ac:cxnSpMk id="26" creationId="{0C1DF596-ADA6-D0B2-7941-E4F8141EE7EB}"/>
          </ac:cxnSpMkLst>
        </pc:cxnChg>
      </pc:sldChg>
      <pc:sldChg chg="addSp delSp modSp add mod modAnim">
        <pc:chgData name="Kasey Elkin" userId="84f925f2-579a-4827-8dbe-4132fee3a4a8" providerId="ADAL" clId="{724CB732-B505-436A-8F51-ED8A31FC091A}" dt="2026-06-04T00:32:34.879" v="4160"/>
        <pc:sldMkLst>
          <pc:docMk/>
          <pc:sldMk cId="876912174" sldId="310"/>
        </pc:sldMkLst>
        <pc:spChg chg="mod">
          <ac:chgData name="Kasey Elkin" userId="84f925f2-579a-4827-8dbe-4132fee3a4a8" providerId="ADAL" clId="{724CB732-B505-436A-8F51-ED8A31FC091A}" dt="2026-06-02T16:42:40.011" v="363" actId="20577"/>
          <ac:spMkLst>
            <pc:docMk/>
            <pc:sldMk cId="876912174" sldId="310"/>
            <ac:spMk id="2" creationId="{3611DD63-8978-E502-1417-CEBEEC2B91AE}"/>
          </ac:spMkLst>
        </pc:spChg>
        <pc:spChg chg="mod">
          <ac:chgData name="Kasey Elkin" userId="84f925f2-579a-4827-8dbe-4132fee3a4a8" providerId="ADAL" clId="{724CB732-B505-436A-8F51-ED8A31FC091A}" dt="2026-06-03T16:48:52.294" v="1187" actId="20577"/>
          <ac:spMkLst>
            <pc:docMk/>
            <pc:sldMk cId="876912174" sldId="310"/>
            <ac:spMk id="6" creationId="{FDFC826C-A21E-7BE9-4BA1-1932838F6ACA}"/>
          </ac:spMkLst>
        </pc:spChg>
        <pc:spChg chg="add mod">
          <ac:chgData name="Kasey Elkin" userId="84f925f2-579a-4827-8dbe-4132fee3a4a8" providerId="ADAL" clId="{724CB732-B505-436A-8F51-ED8A31FC091A}" dt="2026-06-03T17:57:40.229" v="1359" actId="20577"/>
          <ac:spMkLst>
            <pc:docMk/>
            <pc:sldMk cId="876912174" sldId="310"/>
            <ac:spMk id="10" creationId="{E1DF5ACC-E1A5-48BF-88BD-782AD4FC3BC2}"/>
          </ac:spMkLst>
        </pc:spChg>
        <pc:spChg chg="add mod">
          <ac:chgData name="Kasey Elkin" userId="84f925f2-579a-4827-8dbe-4132fee3a4a8" providerId="ADAL" clId="{724CB732-B505-436A-8F51-ED8A31FC091A}" dt="2026-06-03T17:56:35.044" v="1350" actId="164"/>
          <ac:spMkLst>
            <pc:docMk/>
            <pc:sldMk cId="876912174" sldId="310"/>
            <ac:spMk id="11" creationId="{DE246262-B3FC-F70B-E17C-2768E1058BD8}"/>
          </ac:spMkLst>
        </pc:spChg>
        <pc:spChg chg="add mod">
          <ac:chgData name="Kasey Elkin" userId="84f925f2-579a-4827-8dbe-4132fee3a4a8" providerId="ADAL" clId="{724CB732-B505-436A-8F51-ED8A31FC091A}" dt="2026-06-03T17:56:35.044" v="1350" actId="164"/>
          <ac:spMkLst>
            <pc:docMk/>
            <pc:sldMk cId="876912174" sldId="310"/>
            <ac:spMk id="12" creationId="{7D7A621F-A3C9-4966-20D2-DF8C3673F13F}"/>
          </ac:spMkLst>
        </pc:spChg>
        <pc:spChg chg="add mod">
          <ac:chgData name="Kasey Elkin" userId="84f925f2-579a-4827-8dbe-4132fee3a4a8" providerId="ADAL" clId="{724CB732-B505-436A-8F51-ED8A31FC091A}" dt="2026-06-03T17:57:24.486" v="1355" actId="1076"/>
          <ac:spMkLst>
            <pc:docMk/>
            <pc:sldMk cId="876912174" sldId="310"/>
            <ac:spMk id="21" creationId="{7F342602-E8B1-E3B2-1549-9ECFE7495F65}"/>
          </ac:spMkLst>
        </pc:spChg>
        <pc:grpChg chg="add mod">
          <ac:chgData name="Kasey Elkin" userId="84f925f2-579a-4827-8dbe-4132fee3a4a8" providerId="ADAL" clId="{724CB732-B505-436A-8F51-ED8A31FC091A}" dt="2026-06-03T17:56:42.205" v="1351" actId="1076"/>
          <ac:grpSpMkLst>
            <pc:docMk/>
            <pc:sldMk cId="876912174" sldId="310"/>
            <ac:grpSpMk id="22" creationId="{E1F8D6D3-D4CC-8D1E-2903-1A56B4EEEB83}"/>
          </ac:grpSpMkLst>
        </pc:grpChg>
        <pc:picChg chg="del mod">
          <ac:chgData name="Kasey Elkin" userId="84f925f2-579a-4827-8dbe-4132fee3a4a8" providerId="ADAL" clId="{724CB732-B505-436A-8F51-ED8A31FC091A}" dt="2026-06-03T17:35:53.067" v="1188" actId="478"/>
          <ac:picMkLst>
            <pc:docMk/>
            <pc:sldMk cId="876912174" sldId="310"/>
            <ac:picMk id="4" creationId="{FC44BE2E-F81D-2020-BC1A-3D858E3D99B4}"/>
          </ac:picMkLst>
        </pc:picChg>
        <pc:picChg chg="add mod modCrop">
          <ac:chgData name="Kasey Elkin" userId="84f925f2-579a-4827-8dbe-4132fee3a4a8" providerId="ADAL" clId="{724CB732-B505-436A-8F51-ED8A31FC091A}" dt="2026-06-03T17:56:35.044" v="1350" actId="164"/>
          <ac:picMkLst>
            <pc:docMk/>
            <pc:sldMk cId="876912174" sldId="310"/>
            <ac:picMk id="7" creationId="{F594295D-FC8A-5FE6-77CE-697375554011}"/>
          </ac:picMkLst>
        </pc:picChg>
        <pc:picChg chg="add mod modCrop">
          <ac:chgData name="Kasey Elkin" userId="84f925f2-579a-4827-8dbe-4132fee3a4a8" providerId="ADAL" clId="{724CB732-B505-436A-8F51-ED8A31FC091A}" dt="2026-06-03T17:56:35.044" v="1350" actId="164"/>
          <ac:picMkLst>
            <pc:docMk/>
            <pc:sldMk cId="876912174" sldId="310"/>
            <ac:picMk id="9" creationId="{216A864B-B93F-9914-C90B-41D1CB513A9A}"/>
          </ac:picMkLst>
        </pc:picChg>
        <pc:cxnChg chg="add mod">
          <ac:chgData name="Kasey Elkin" userId="84f925f2-579a-4827-8dbe-4132fee3a4a8" providerId="ADAL" clId="{724CB732-B505-436A-8F51-ED8A31FC091A}" dt="2026-06-03T17:56:35.044" v="1350" actId="164"/>
          <ac:cxnSpMkLst>
            <pc:docMk/>
            <pc:sldMk cId="876912174" sldId="310"/>
            <ac:cxnSpMk id="14" creationId="{F1959DE4-15D2-E901-3839-5DB3439C3505}"/>
          </ac:cxnSpMkLst>
        </pc:cxnChg>
      </pc:sldChg>
      <pc:sldChg chg="addSp delSp modSp mod">
        <pc:chgData name="Kasey Elkin" userId="84f925f2-579a-4827-8dbe-4132fee3a4a8" providerId="ADAL" clId="{724CB732-B505-436A-8F51-ED8A31FC091A}" dt="2026-06-02T16:27:01.420" v="161" actId="14100"/>
        <pc:sldMkLst>
          <pc:docMk/>
          <pc:sldMk cId="1852496237" sldId="2147475699"/>
        </pc:sldMkLst>
        <pc:spChg chg="mod">
          <ac:chgData name="Kasey Elkin" userId="84f925f2-579a-4827-8dbe-4132fee3a4a8" providerId="ADAL" clId="{724CB732-B505-436A-8F51-ED8A31FC091A}" dt="2026-06-02T16:27:01.420" v="161" actId="14100"/>
          <ac:spMkLst>
            <pc:docMk/>
            <pc:sldMk cId="1852496237" sldId="2147475699"/>
            <ac:spMk id="2" creationId="{CADAEA80-9D37-CEDB-4CC9-D2CBD0C5DB33}"/>
          </ac:spMkLst>
        </pc:spChg>
      </pc:sldChg>
      <pc:sldChg chg="addSp delSp modSp add mod">
        <pc:chgData name="Kasey Elkin" userId="84f925f2-579a-4827-8dbe-4132fee3a4a8" providerId="ADAL" clId="{724CB732-B505-436A-8F51-ED8A31FC091A}" dt="2026-06-04T00:13:50.574" v="3850" actId="20577"/>
        <pc:sldMkLst>
          <pc:docMk/>
          <pc:sldMk cId="476753942" sldId="2147475700"/>
        </pc:sldMkLst>
        <pc:spChg chg="mod">
          <ac:chgData name="Kasey Elkin" userId="84f925f2-579a-4827-8dbe-4132fee3a4a8" providerId="ADAL" clId="{724CB732-B505-436A-8F51-ED8A31FC091A}" dt="2026-06-03T23:41:34.020" v="2224"/>
          <ac:spMkLst>
            <pc:docMk/>
            <pc:sldMk cId="476753942" sldId="2147475700"/>
            <ac:spMk id="3" creationId="{6EA87638-9035-5BA2-6604-1751E84A6DCC}"/>
          </ac:spMkLst>
        </pc:spChg>
        <pc:spChg chg="add del mod">
          <ac:chgData name="Kasey Elkin" userId="84f925f2-579a-4827-8dbe-4132fee3a4a8" providerId="ADAL" clId="{724CB732-B505-436A-8F51-ED8A31FC091A}" dt="2026-06-04T00:13:50.574" v="3850" actId="20577"/>
          <ac:spMkLst>
            <pc:docMk/>
            <pc:sldMk cId="476753942" sldId="2147475700"/>
            <ac:spMk id="7" creationId="{3E5B2B5F-39A0-C445-D709-A606AA5A6946}"/>
          </ac:spMkLst>
        </pc:spChg>
        <pc:spChg chg="add del mod topLvl">
          <ac:chgData name="Kasey Elkin" userId="84f925f2-579a-4827-8dbe-4132fee3a4a8" providerId="ADAL" clId="{724CB732-B505-436A-8F51-ED8A31FC091A}" dt="2026-06-03T23:41:54.916" v="2229" actId="478"/>
          <ac:spMkLst>
            <pc:docMk/>
            <pc:sldMk cId="476753942" sldId="2147475700"/>
            <ac:spMk id="8" creationId="{8F10F175-4B04-4F14-2D49-27E3DFB977D1}"/>
          </ac:spMkLst>
        </pc:spChg>
        <pc:spChg chg="add mod topLvl">
          <ac:chgData name="Kasey Elkin" userId="84f925f2-579a-4827-8dbe-4132fee3a4a8" providerId="ADAL" clId="{724CB732-B505-436A-8F51-ED8A31FC091A}" dt="2026-06-03T23:41:10.845" v="2220" actId="1076"/>
          <ac:spMkLst>
            <pc:docMk/>
            <pc:sldMk cId="476753942" sldId="2147475700"/>
            <ac:spMk id="10" creationId="{D34AF097-D45E-0C19-1E4C-CB7C060B4698}"/>
          </ac:spMkLst>
        </pc:spChg>
        <pc:spChg chg="add mod topLvl">
          <ac:chgData name="Kasey Elkin" userId="84f925f2-579a-4827-8dbe-4132fee3a4a8" providerId="ADAL" clId="{724CB732-B505-436A-8F51-ED8A31FC091A}" dt="2026-06-03T23:41:15.139" v="2221" actId="1076"/>
          <ac:spMkLst>
            <pc:docMk/>
            <pc:sldMk cId="476753942" sldId="2147475700"/>
            <ac:spMk id="14" creationId="{C2F2CD9C-5D15-E64B-7FFF-E8E86D32712A}"/>
          </ac:spMkLst>
        </pc:spChg>
        <pc:spChg chg="add del mod topLvl">
          <ac:chgData name="Kasey Elkin" userId="84f925f2-579a-4827-8dbe-4132fee3a4a8" providerId="ADAL" clId="{724CB732-B505-436A-8F51-ED8A31FC091A}" dt="2026-06-03T23:45:54.002" v="2281" actId="478"/>
          <ac:spMkLst>
            <pc:docMk/>
            <pc:sldMk cId="476753942" sldId="2147475700"/>
            <ac:spMk id="16" creationId="{0AAD35B3-3796-9558-B8E0-29BE1B8BE988}"/>
          </ac:spMkLst>
        </pc:spChg>
        <pc:grpChg chg="add del mod">
          <ac:chgData name="Kasey Elkin" userId="84f925f2-579a-4827-8dbe-4132fee3a4a8" providerId="ADAL" clId="{724CB732-B505-436A-8F51-ED8A31FC091A}" dt="2026-06-03T23:40:43.388" v="2214" actId="165"/>
          <ac:grpSpMkLst>
            <pc:docMk/>
            <pc:sldMk cId="476753942" sldId="2147475700"/>
            <ac:grpSpMk id="18" creationId="{B18E44C6-5567-BF66-2D04-8DDB4A11BD12}"/>
          </ac:grpSpMkLst>
        </pc:grpChg>
        <pc:picChg chg="add mod topLvl">
          <ac:chgData name="Kasey Elkin" userId="84f925f2-579a-4827-8dbe-4132fee3a4a8" providerId="ADAL" clId="{724CB732-B505-436A-8F51-ED8A31FC091A}" dt="2026-06-03T23:41:03.701" v="2219" actId="1076"/>
          <ac:picMkLst>
            <pc:docMk/>
            <pc:sldMk cId="476753942" sldId="2147475700"/>
            <ac:picMk id="5" creationId="{706DB204-8478-D943-D335-B7C89340296E}"/>
          </ac:picMkLst>
        </pc:picChg>
        <pc:picChg chg="del">
          <ac:chgData name="Kasey Elkin" userId="84f925f2-579a-4827-8dbe-4132fee3a4a8" providerId="ADAL" clId="{724CB732-B505-436A-8F51-ED8A31FC091A}" dt="2026-06-03T23:39:26.601" v="2202" actId="478"/>
          <ac:picMkLst>
            <pc:docMk/>
            <pc:sldMk cId="476753942" sldId="2147475700"/>
            <ac:picMk id="9" creationId="{4323CB2D-A37F-A54A-CEF2-127B3F12F069}"/>
          </ac:picMkLst>
        </pc:picChg>
        <pc:cxnChg chg="add mod topLvl">
          <ac:chgData name="Kasey Elkin" userId="84f925f2-579a-4827-8dbe-4132fee3a4a8" providerId="ADAL" clId="{724CB732-B505-436A-8F51-ED8A31FC091A}" dt="2026-06-03T23:41:10.845" v="2220" actId="1076"/>
          <ac:cxnSpMkLst>
            <pc:docMk/>
            <pc:sldMk cId="476753942" sldId="2147475700"/>
            <ac:cxnSpMk id="12" creationId="{E6E55DC6-DCE2-6A79-48F4-47575A2697A4}"/>
          </ac:cxnSpMkLst>
        </pc:cxnChg>
        <pc:cxnChg chg="add mod topLvl">
          <ac:chgData name="Kasey Elkin" userId="84f925f2-579a-4827-8dbe-4132fee3a4a8" providerId="ADAL" clId="{724CB732-B505-436A-8F51-ED8A31FC091A}" dt="2026-06-03T23:41:15.139" v="2221" actId="1076"/>
          <ac:cxnSpMkLst>
            <pc:docMk/>
            <pc:sldMk cId="476753942" sldId="2147475700"/>
            <ac:cxnSpMk id="15" creationId="{3F992CCF-0082-C3AC-99DD-E1266DAFCB33}"/>
          </ac:cxnSpMkLst>
        </pc:cxnChg>
        <pc:cxnChg chg="add del mod topLvl">
          <ac:chgData name="Kasey Elkin" userId="84f925f2-579a-4827-8dbe-4132fee3a4a8" providerId="ADAL" clId="{724CB732-B505-436A-8F51-ED8A31FC091A}" dt="2026-06-03T23:45:54.002" v="2281" actId="478"/>
          <ac:cxnSpMkLst>
            <pc:docMk/>
            <pc:sldMk cId="476753942" sldId="2147475700"/>
            <ac:cxnSpMk id="17" creationId="{EAADA341-D303-FCF6-6138-3DD67D930DBB}"/>
          </ac:cxnSpMkLst>
        </pc:cxnChg>
      </pc:sldChg>
      <pc:sldChg chg="add del">
        <pc:chgData name="Kasey Elkin" userId="84f925f2-579a-4827-8dbe-4132fee3a4a8" providerId="ADAL" clId="{724CB732-B505-436A-8F51-ED8A31FC091A}" dt="2026-06-03T23:48:40.065" v="2309" actId="47"/>
        <pc:sldMkLst>
          <pc:docMk/>
          <pc:sldMk cId="2128680151" sldId="2147475701"/>
        </pc:sldMkLst>
      </pc:sldChg>
      <pc:sldChg chg="addSp delSp modSp add del mod">
        <pc:chgData name="Kasey Elkin" userId="84f925f2-579a-4827-8dbe-4132fee3a4a8" providerId="ADAL" clId="{724CB732-B505-436A-8F51-ED8A31FC091A}" dt="2026-06-04T00:14:13.182" v="3851" actId="2696"/>
        <pc:sldMkLst>
          <pc:docMk/>
          <pc:sldMk cId="754567926" sldId="2147475702"/>
        </pc:sldMkLst>
        <pc:spChg chg="del">
          <ac:chgData name="Kasey Elkin" userId="84f925f2-579a-4827-8dbe-4132fee3a4a8" providerId="ADAL" clId="{724CB732-B505-436A-8F51-ED8A31FC091A}" dt="2026-06-03T23:44:51.459" v="2264" actId="478"/>
          <ac:spMkLst>
            <pc:docMk/>
            <pc:sldMk cId="754567926" sldId="2147475702"/>
            <ac:spMk id="7" creationId="{0A1AF94A-69C7-4B93-C588-AE68BFD3502A}"/>
          </ac:spMkLst>
        </pc:spChg>
        <pc:spChg chg="add mod">
          <ac:chgData name="Kasey Elkin" userId="84f925f2-579a-4827-8dbe-4132fee3a4a8" providerId="ADAL" clId="{724CB732-B505-436A-8F51-ED8A31FC091A}" dt="2026-06-03T23:45:42.174" v="2280" actId="1076"/>
          <ac:spMkLst>
            <pc:docMk/>
            <pc:sldMk cId="754567926" sldId="2147475702"/>
            <ac:spMk id="8" creationId="{BF18DF7C-7028-26BA-AD50-BEDE25D1E2FA}"/>
          </ac:spMkLst>
        </pc:spChg>
        <pc:spChg chg="del mod">
          <ac:chgData name="Kasey Elkin" userId="84f925f2-579a-4827-8dbe-4132fee3a4a8" providerId="ADAL" clId="{724CB732-B505-436A-8F51-ED8A31FC091A}" dt="2026-06-04T00:11:29.802" v="3820" actId="478"/>
          <ac:spMkLst>
            <pc:docMk/>
            <pc:sldMk cId="754567926" sldId="2147475702"/>
            <ac:spMk id="16" creationId="{54C6CC97-1F08-EFCD-CA02-7263158CD95C}"/>
          </ac:spMkLst>
        </pc:spChg>
        <pc:cxnChg chg="del">
          <ac:chgData name="Kasey Elkin" userId="84f925f2-579a-4827-8dbe-4132fee3a4a8" providerId="ADAL" clId="{724CB732-B505-436A-8F51-ED8A31FC091A}" dt="2026-06-04T00:11:29.085" v="3819" actId="478"/>
          <ac:cxnSpMkLst>
            <pc:docMk/>
            <pc:sldMk cId="754567926" sldId="2147475702"/>
            <ac:cxnSpMk id="17" creationId="{F8A58CE6-E830-4FCA-E22C-CE254FDEC9AB}"/>
          </ac:cxnSpMkLst>
        </pc:cxnChg>
      </pc:sldChg>
      <pc:sldChg chg="addSp delSp modSp add mod">
        <pc:chgData name="Kasey Elkin" userId="84f925f2-579a-4827-8dbe-4132fee3a4a8" providerId="ADAL" clId="{724CB732-B505-436A-8F51-ED8A31FC091A}" dt="2026-06-04T00:14:45.963" v="3852" actId="114"/>
        <pc:sldMkLst>
          <pc:docMk/>
          <pc:sldMk cId="3145211749" sldId="2147475703"/>
        </pc:sldMkLst>
        <pc:spChg chg="add mod">
          <ac:chgData name="Kasey Elkin" userId="84f925f2-579a-4827-8dbe-4132fee3a4a8" providerId="ADAL" clId="{724CB732-B505-436A-8F51-ED8A31FC091A}" dt="2026-06-03T23:46:57.363" v="2288" actId="1076"/>
          <ac:spMkLst>
            <pc:docMk/>
            <pc:sldMk cId="3145211749" sldId="2147475703"/>
            <ac:spMk id="7" creationId="{43049286-346D-36B7-EB58-5B21E76F7D51}"/>
          </ac:spMkLst>
        </pc:spChg>
        <pc:spChg chg="mod">
          <ac:chgData name="Kasey Elkin" userId="84f925f2-579a-4827-8dbe-4132fee3a4a8" providerId="ADAL" clId="{724CB732-B505-436A-8F51-ED8A31FC091A}" dt="2026-06-04T00:14:45.963" v="3852" actId="114"/>
          <ac:spMkLst>
            <pc:docMk/>
            <pc:sldMk cId="3145211749" sldId="2147475703"/>
            <ac:spMk id="8" creationId="{D0C4426B-B32F-4D7A-5DB4-E2CF8794E58C}"/>
          </ac:spMkLst>
        </pc:spChg>
        <pc:spChg chg="del">
          <ac:chgData name="Kasey Elkin" userId="84f925f2-579a-4827-8dbe-4132fee3a4a8" providerId="ADAL" clId="{724CB732-B505-436A-8F51-ED8A31FC091A}" dt="2026-06-03T23:47:12.009" v="2292" actId="478"/>
          <ac:spMkLst>
            <pc:docMk/>
            <pc:sldMk cId="3145211749" sldId="2147475703"/>
            <ac:spMk id="16" creationId="{EB853608-FD24-B738-9F46-93CA17E1D625}"/>
          </ac:spMkLst>
        </pc:spChg>
        <pc:picChg chg="mod">
          <ac:chgData name="Kasey Elkin" userId="84f925f2-579a-4827-8dbe-4132fee3a4a8" providerId="ADAL" clId="{724CB732-B505-436A-8F51-ED8A31FC091A}" dt="2026-06-03T23:46:52.389" v="2287" actId="1076"/>
          <ac:picMkLst>
            <pc:docMk/>
            <pc:sldMk cId="3145211749" sldId="2147475703"/>
            <ac:picMk id="5" creationId="{BF097CE9-ED07-018D-D271-3D95A7708035}"/>
          </ac:picMkLst>
        </pc:picChg>
        <pc:cxnChg chg="del mod">
          <ac:chgData name="Kasey Elkin" userId="84f925f2-579a-4827-8dbe-4132fee3a4a8" providerId="ADAL" clId="{724CB732-B505-436A-8F51-ED8A31FC091A}" dt="2026-06-03T23:47:04.918" v="2291" actId="478"/>
          <ac:cxnSpMkLst>
            <pc:docMk/>
            <pc:sldMk cId="3145211749" sldId="2147475703"/>
            <ac:cxnSpMk id="17" creationId="{DE669B0D-72E4-A096-2CEC-886D2002CEB3}"/>
          </ac:cxnSpMkLst>
        </pc:cxnChg>
      </pc:sldChg>
      <pc:sldChg chg="addSp delSp modSp add mod">
        <pc:chgData name="Kasey Elkin" userId="84f925f2-579a-4827-8dbe-4132fee3a4a8" providerId="ADAL" clId="{724CB732-B505-436A-8F51-ED8A31FC091A}" dt="2026-06-04T00:15:30.612" v="3873" actId="20577"/>
        <pc:sldMkLst>
          <pc:docMk/>
          <pc:sldMk cId="2757136639" sldId="2147475704"/>
        </pc:sldMkLst>
        <pc:spChg chg="del mod">
          <ac:chgData name="Kasey Elkin" userId="84f925f2-579a-4827-8dbe-4132fee3a4a8" providerId="ADAL" clId="{724CB732-B505-436A-8F51-ED8A31FC091A}" dt="2026-06-03T23:49:43.168" v="2318" actId="478"/>
          <ac:spMkLst>
            <pc:docMk/>
            <pc:sldMk cId="2757136639" sldId="2147475704"/>
            <ac:spMk id="3" creationId="{7B0914D6-AC75-9D05-5794-F88E26ABDA5C}"/>
          </ac:spMkLst>
        </pc:spChg>
        <pc:spChg chg="del">
          <ac:chgData name="Kasey Elkin" userId="84f925f2-579a-4827-8dbe-4132fee3a4a8" providerId="ADAL" clId="{724CB732-B505-436A-8F51-ED8A31FC091A}" dt="2026-06-03T23:49:37.507" v="2314" actId="478"/>
          <ac:spMkLst>
            <pc:docMk/>
            <pc:sldMk cId="2757136639" sldId="2147475704"/>
            <ac:spMk id="6" creationId="{FDD36995-1EEF-9675-7C7A-156C2C459721}"/>
          </ac:spMkLst>
        </pc:spChg>
        <pc:spChg chg="del">
          <ac:chgData name="Kasey Elkin" userId="84f925f2-579a-4827-8dbe-4132fee3a4a8" providerId="ADAL" clId="{724CB732-B505-436A-8F51-ED8A31FC091A}" dt="2026-06-03T23:49:37.507" v="2314" actId="478"/>
          <ac:spMkLst>
            <pc:docMk/>
            <pc:sldMk cId="2757136639" sldId="2147475704"/>
            <ac:spMk id="7" creationId="{CC234EA5-0F25-8754-0399-2BC06370A75F}"/>
          </ac:spMkLst>
        </pc:spChg>
        <pc:spChg chg="mod">
          <ac:chgData name="Kasey Elkin" userId="84f925f2-579a-4827-8dbe-4132fee3a4a8" providerId="ADAL" clId="{724CB732-B505-436A-8F51-ED8A31FC091A}" dt="2026-06-04T00:04:42.709" v="3443" actId="20577"/>
          <ac:spMkLst>
            <pc:docMk/>
            <pc:sldMk cId="2757136639" sldId="2147475704"/>
            <ac:spMk id="8" creationId="{23AED813-67DE-8A33-BCC2-4C85FA861037}"/>
          </ac:spMkLst>
        </pc:spChg>
        <pc:spChg chg="add del mod">
          <ac:chgData name="Kasey Elkin" userId="84f925f2-579a-4827-8dbe-4132fee3a4a8" providerId="ADAL" clId="{724CB732-B505-436A-8F51-ED8A31FC091A}" dt="2026-06-03T23:49:45.029" v="2320" actId="478"/>
          <ac:spMkLst>
            <pc:docMk/>
            <pc:sldMk cId="2757136639" sldId="2147475704"/>
            <ac:spMk id="9" creationId="{F388DB99-64C2-5527-4449-6F166EDA0003}"/>
          </ac:spMkLst>
        </pc:spChg>
        <pc:spChg chg="del mod">
          <ac:chgData name="Kasey Elkin" userId="84f925f2-579a-4827-8dbe-4132fee3a4a8" providerId="ADAL" clId="{724CB732-B505-436A-8F51-ED8A31FC091A}" dt="2026-06-03T23:49:44.032" v="2319" actId="478"/>
          <ac:spMkLst>
            <pc:docMk/>
            <pc:sldMk cId="2757136639" sldId="2147475704"/>
            <ac:spMk id="10" creationId="{1969A5E0-C3F5-2AFE-70B3-9E07BC2EFC9D}"/>
          </ac:spMkLst>
        </pc:spChg>
        <pc:spChg chg="del">
          <ac:chgData name="Kasey Elkin" userId="84f925f2-579a-4827-8dbe-4132fee3a4a8" providerId="ADAL" clId="{724CB732-B505-436A-8F51-ED8A31FC091A}" dt="2026-06-03T23:49:37.507" v="2314" actId="478"/>
          <ac:spMkLst>
            <pc:docMk/>
            <pc:sldMk cId="2757136639" sldId="2147475704"/>
            <ac:spMk id="13" creationId="{C9965CDB-15B0-550C-B07B-F7715A205EB7}"/>
          </ac:spMkLst>
        </pc:spChg>
        <pc:spChg chg="del">
          <ac:chgData name="Kasey Elkin" userId="84f925f2-579a-4827-8dbe-4132fee3a4a8" providerId="ADAL" clId="{724CB732-B505-436A-8F51-ED8A31FC091A}" dt="2026-06-03T23:49:37.507" v="2314" actId="478"/>
          <ac:spMkLst>
            <pc:docMk/>
            <pc:sldMk cId="2757136639" sldId="2147475704"/>
            <ac:spMk id="14" creationId="{F3E850C6-CA21-FFB9-700E-5CF5C11B9E3B}"/>
          </ac:spMkLst>
        </pc:spChg>
        <pc:spChg chg="add mod">
          <ac:chgData name="Kasey Elkin" userId="84f925f2-579a-4827-8dbe-4132fee3a4a8" providerId="ADAL" clId="{724CB732-B505-436A-8F51-ED8A31FC091A}" dt="2026-06-03T23:56:12.525" v="2533" actId="1076"/>
          <ac:spMkLst>
            <pc:docMk/>
            <pc:sldMk cId="2757136639" sldId="2147475704"/>
            <ac:spMk id="17" creationId="{A1BA6C50-0CCD-FF59-A217-9B30ADBFDB3A}"/>
          </ac:spMkLst>
        </pc:spChg>
        <pc:spChg chg="add mod">
          <ac:chgData name="Kasey Elkin" userId="84f925f2-579a-4827-8dbe-4132fee3a4a8" providerId="ADAL" clId="{724CB732-B505-436A-8F51-ED8A31FC091A}" dt="2026-06-04T00:15:30.612" v="3873" actId="20577"/>
          <ac:spMkLst>
            <pc:docMk/>
            <pc:sldMk cId="2757136639" sldId="2147475704"/>
            <ac:spMk id="18" creationId="{7C962E4F-4D66-A462-93C9-B91F4316E7DD}"/>
          </ac:spMkLst>
        </pc:spChg>
        <pc:spChg chg="add mod">
          <ac:chgData name="Kasey Elkin" userId="84f925f2-579a-4827-8dbe-4132fee3a4a8" providerId="ADAL" clId="{724CB732-B505-436A-8F51-ED8A31FC091A}" dt="2026-06-04T00:15:09.690" v="3853" actId="1076"/>
          <ac:spMkLst>
            <pc:docMk/>
            <pc:sldMk cId="2757136639" sldId="2147475704"/>
            <ac:spMk id="19" creationId="{9FD69135-DC98-1888-0059-C93CC0AA1B3D}"/>
          </ac:spMkLst>
        </pc:spChg>
        <pc:spChg chg="add mod">
          <ac:chgData name="Kasey Elkin" userId="84f925f2-579a-4827-8dbe-4132fee3a4a8" providerId="ADAL" clId="{724CB732-B505-436A-8F51-ED8A31FC091A}" dt="2026-06-03T23:57:01.866" v="2542" actId="1076"/>
          <ac:spMkLst>
            <pc:docMk/>
            <pc:sldMk cId="2757136639" sldId="2147475704"/>
            <ac:spMk id="20" creationId="{67015729-DA38-F751-534C-372DC5B4147B}"/>
          </ac:spMkLst>
        </pc:spChg>
        <pc:spChg chg="add mod">
          <ac:chgData name="Kasey Elkin" userId="84f925f2-579a-4827-8dbe-4132fee3a4a8" providerId="ADAL" clId="{724CB732-B505-436A-8F51-ED8A31FC091A}" dt="2026-06-03T23:56:33.127" v="2536" actId="1076"/>
          <ac:spMkLst>
            <pc:docMk/>
            <pc:sldMk cId="2757136639" sldId="2147475704"/>
            <ac:spMk id="21" creationId="{6BFB42AD-473B-0C1C-910A-6E04153397A1}"/>
          </ac:spMkLst>
        </pc:spChg>
        <pc:spChg chg="add mod">
          <ac:chgData name="Kasey Elkin" userId="84f925f2-579a-4827-8dbe-4132fee3a4a8" providerId="ADAL" clId="{724CB732-B505-436A-8F51-ED8A31FC091A}" dt="2026-06-03T23:56:24.844" v="2535" actId="1076"/>
          <ac:spMkLst>
            <pc:docMk/>
            <pc:sldMk cId="2757136639" sldId="2147475704"/>
            <ac:spMk id="22" creationId="{02507A72-67CA-9806-1712-8E326EB89E46}"/>
          </ac:spMkLst>
        </pc:spChg>
        <pc:spChg chg="add mod">
          <ac:chgData name="Kasey Elkin" userId="84f925f2-579a-4827-8dbe-4132fee3a4a8" providerId="ADAL" clId="{724CB732-B505-436A-8F51-ED8A31FC091A}" dt="2026-06-03T23:56:48.121" v="2540" actId="1076"/>
          <ac:spMkLst>
            <pc:docMk/>
            <pc:sldMk cId="2757136639" sldId="2147475704"/>
            <ac:spMk id="23" creationId="{A69C2F47-332B-41AD-340B-E4AA9D7CEA1D}"/>
          </ac:spMkLst>
        </pc:spChg>
        <pc:spChg chg="add mod">
          <ac:chgData name="Kasey Elkin" userId="84f925f2-579a-4827-8dbe-4132fee3a4a8" providerId="ADAL" clId="{724CB732-B505-436A-8F51-ED8A31FC091A}" dt="2026-06-03T23:56:21.993" v="2534" actId="1076"/>
          <ac:spMkLst>
            <pc:docMk/>
            <pc:sldMk cId="2757136639" sldId="2147475704"/>
            <ac:spMk id="24" creationId="{EA3BE46F-8540-92FF-F549-9E7A61DC1968}"/>
          </ac:spMkLst>
        </pc:spChg>
        <pc:spChg chg="add mod">
          <ac:chgData name="Kasey Elkin" userId="84f925f2-579a-4827-8dbe-4132fee3a4a8" providerId="ADAL" clId="{724CB732-B505-436A-8F51-ED8A31FC091A}" dt="2026-06-04T00:15:24.335" v="3854" actId="1076"/>
          <ac:spMkLst>
            <pc:docMk/>
            <pc:sldMk cId="2757136639" sldId="2147475704"/>
            <ac:spMk id="25" creationId="{0135B631-8268-D15E-37A1-7D8605E875CA}"/>
          </ac:spMkLst>
        </pc:spChg>
        <pc:spChg chg="add mod">
          <ac:chgData name="Kasey Elkin" userId="84f925f2-579a-4827-8dbe-4132fee3a4a8" providerId="ADAL" clId="{724CB732-B505-436A-8F51-ED8A31FC091A}" dt="2026-06-03T23:56:46.019" v="2539" actId="1076"/>
          <ac:spMkLst>
            <pc:docMk/>
            <pc:sldMk cId="2757136639" sldId="2147475704"/>
            <ac:spMk id="26" creationId="{9A2EAB36-2AD0-94C0-8FC1-F60A3827FEAC}"/>
          </ac:spMkLst>
        </pc:spChg>
        <pc:picChg chg="del">
          <ac:chgData name="Kasey Elkin" userId="84f925f2-579a-4827-8dbe-4132fee3a4a8" providerId="ADAL" clId="{724CB732-B505-436A-8F51-ED8A31FC091A}" dt="2026-06-03T23:49:39.397" v="2315" actId="478"/>
          <ac:picMkLst>
            <pc:docMk/>
            <pc:sldMk cId="2757136639" sldId="2147475704"/>
            <ac:picMk id="5" creationId="{6A4D5B13-AA92-6019-AD99-4EF03710750E}"/>
          </ac:picMkLst>
        </pc:picChg>
        <pc:picChg chg="add mod">
          <ac:chgData name="Kasey Elkin" userId="84f925f2-579a-4827-8dbe-4132fee3a4a8" providerId="ADAL" clId="{724CB732-B505-436A-8F51-ED8A31FC091A}" dt="2026-06-03T23:55:59.201" v="2531" actId="1076"/>
          <ac:picMkLst>
            <pc:docMk/>
            <pc:sldMk cId="2757136639" sldId="2147475704"/>
            <ac:picMk id="16" creationId="{E5B521D8-511D-3778-3BCD-77E43E0301D9}"/>
          </ac:picMkLst>
        </pc:picChg>
        <pc:cxnChg chg="del">
          <ac:chgData name="Kasey Elkin" userId="84f925f2-579a-4827-8dbe-4132fee3a4a8" providerId="ADAL" clId="{724CB732-B505-436A-8F51-ED8A31FC091A}" dt="2026-06-03T23:49:37.507" v="2314" actId="478"/>
          <ac:cxnSpMkLst>
            <pc:docMk/>
            <pc:sldMk cId="2757136639" sldId="2147475704"/>
            <ac:cxnSpMk id="4" creationId="{3538F15E-E536-E166-804B-79546A62886D}"/>
          </ac:cxnSpMkLst>
        </pc:cxnChg>
        <pc:cxnChg chg="del">
          <ac:chgData name="Kasey Elkin" userId="84f925f2-579a-4827-8dbe-4132fee3a4a8" providerId="ADAL" clId="{724CB732-B505-436A-8F51-ED8A31FC091A}" dt="2026-06-03T23:49:37.507" v="2314" actId="478"/>
          <ac:cxnSpMkLst>
            <pc:docMk/>
            <pc:sldMk cId="2757136639" sldId="2147475704"/>
            <ac:cxnSpMk id="11" creationId="{6C05EA17-DAF7-42AF-D38A-FE85D5DD4BA5}"/>
          </ac:cxnSpMkLst>
        </pc:cxnChg>
        <pc:cxnChg chg="del mod">
          <ac:chgData name="Kasey Elkin" userId="84f925f2-579a-4827-8dbe-4132fee3a4a8" providerId="ADAL" clId="{724CB732-B505-436A-8F51-ED8A31FC091A}" dt="2026-06-03T23:49:37.507" v="2314" actId="478"/>
          <ac:cxnSpMkLst>
            <pc:docMk/>
            <pc:sldMk cId="2757136639" sldId="2147475704"/>
            <ac:cxnSpMk id="12" creationId="{96068782-637F-A1D0-0037-D50DC94279C9}"/>
          </ac:cxnSpMkLst>
        </pc:cxnChg>
        <pc:cxnChg chg="del mod">
          <ac:chgData name="Kasey Elkin" userId="84f925f2-579a-4827-8dbe-4132fee3a4a8" providerId="ADAL" clId="{724CB732-B505-436A-8F51-ED8A31FC091A}" dt="2026-06-03T23:49:37.507" v="2314" actId="478"/>
          <ac:cxnSpMkLst>
            <pc:docMk/>
            <pc:sldMk cId="2757136639" sldId="2147475704"/>
            <ac:cxnSpMk id="15" creationId="{6FB477F9-F791-AF8E-7CBD-AA762EC7F84A}"/>
          </ac:cxnSpMkLst>
        </pc:cxnChg>
      </pc:sldChg>
      <pc:sldChg chg="addSp delSp modSp add del mod modAnim">
        <pc:chgData name="Kasey Elkin" userId="84f925f2-579a-4827-8dbe-4132fee3a4a8" providerId="ADAL" clId="{724CB732-B505-436A-8F51-ED8A31FC091A}" dt="2026-06-04T00:07:37.499" v="3639" actId="47"/>
        <pc:sldMkLst>
          <pc:docMk/>
          <pc:sldMk cId="2238933172" sldId="2147475705"/>
        </pc:sldMkLst>
        <pc:spChg chg="add mod">
          <ac:chgData name="Kasey Elkin" userId="84f925f2-579a-4827-8dbe-4132fee3a4a8" providerId="ADAL" clId="{724CB732-B505-436A-8F51-ED8A31FC091A}" dt="2026-06-03T23:59:07.617" v="2574" actId="1076"/>
          <ac:spMkLst>
            <pc:docMk/>
            <pc:sldMk cId="2238933172" sldId="2147475705"/>
            <ac:spMk id="4" creationId="{3B3D9D4B-03F6-BC50-E685-0FAB4FCAEB97}"/>
          </ac:spMkLst>
        </pc:spChg>
        <pc:spChg chg="add mod">
          <ac:chgData name="Kasey Elkin" userId="84f925f2-579a-4827-8dbe-4132fee3a4a8" providerId="ADAL" clId="{724CB732-B505-436A-8F51-ED8A31FC091A}" dt="2026-06-04T00:02:44.040" v="3021" actId="14100"/>
          <ac:spMkLst>
            <pc:docMk/>
            <pc:sldMk cId="2238933172" sldId="2147475705"/>
            <ac:spMk id="5" creationId="{DD03CF2F-7B6E-F950-B833-DE66EEC7C25E}"/>
          </ac:spMkLst>
        </pc:spChg>
        <pc:spChg chg="add del mod">
          <ac:chgData name="Kasey Elkin" userId="84f925f2-579a-4827-8dbe-4132fee3a4a8" providerId="ADAL" clId="{724CB732-B505-436A-8F51-ED8A31FC091A}" dt="2026-06-04T00:02:29.454" v="3009" actId="478"/>
          <ac:spMkLst>
            <pc:docMk/>
            <pc:sldMk cId="2238933172" sldId="2147475705"/>
            <ac:spMk id="6" creationId="{F50759EA-8D6B-0735-1EEB-78F029A6532E}"/>
          </ac:spMkLst>
        </pc:spChg>
        <pc:spChg chg="add mod">
          <ac:chgData name="Kasey Elkin" userId="84f925f2-579a-4827-8dbe-4132fee3a4a8" providerId="ADAL" clId="{724CB732-B505-436A-8F51-ED8A31FC091A}" dt="2026-06-03T23:59:05.020" v="2573" actId="1076"/>
          <ac:spMkLst>
            <pc:docMk/>
            <pc:sldMk cId="2238933172" sldId="2147475705"/>
            <ac:spMk id="7" creationId="{7E936D2D-56CC-6B93-E5F0-349B9CB9E19A}"/>
          </ac:spMkLst>
        </pc:spChg>
        <pc:spChg chg="mod">
          <ac:chgData name="Kasey Elkin" userId="84f925f2-579a-4827-8dbe-4132fee3a4a8" providerId="ADAL" clId="{724CB732-B505-436A-8F51-ED8A31FC091A}" dt="2026-06-04T00:05:31.334" v="3500" actId="14100"/>
          <ac:spMkLst>
            <pc:docMk/>
            <pc:sldMk cId="2238933172" sldId="2147475705"/>
            <ac:spMk id="8" creationId="{A2477A76-68E3-76C9-C13B-17CE6DEF46BB}"/>
          </ac:spMkLst>
        </pc:spChg>
        <pc:spChg chg="add mod">
          <ac:chgData name="Kasey Elkin" userId="84f925f2-579a-4827-8dbe-4132fee3a4a8" providerId="ADAL" clId="{724CB732-B505-436A-8F51-ED8A31FC091A}" dt="2026-06-04T00:02:35.991" v="3015" actId="14100"/>
          <ac:spMkLst>
            <pc:docMk/>
            <pc:sldMk cId="2238933172" sldId="2147475705"/>
            <ac:spMk id="9" creationId="{C879A376-ACF7-EA2C-B0D9-F4426E9382B3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17" creationId="{91CB1524-67D3-3582-82B4-DB4F82DF14A3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18" creationId="{8CC979AE-E90C-04EC-3ADC-04CC3306DF82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19" creationId="{386C2F2D-7EDE-DE40-1206-7ACA5AF8090E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0" creationId="{913094FE-9248-9304-3DA7-2DA3F8BD0FAE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1" creationId="{0C461033-9863-FE69-8DD3-8EB084562B25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2" creationId="{51850038-98CB-93A2-0D3D-B86FCCE4B6DF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3" creationId="{FFD48CF6-2404-8AEA-9880-1C3A4A3D797B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4" creationId="{619FE99F-7E5F-9B2A-58C2-FC03665CE922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5" creationId="{4F62C179-E2FD-C7FD-A427-74F2073A8223}"/>
          </ac:spMkLst>
        </pc:spChg>
        <pc:spChg chg="del">
          <ac:chgData name="Kasey Elkin" userId="84f925f2-579a-4827-8dbe-4132fee3a4a8" providerId="ADAL" clId="{724CB732-B505-436A-8F51-ED8A31FC091A}" dt="2026-06-03T23:58:22.168" v="2562" actId="478"/>
          <ac:spMkLst>
            <pc:docMk/>
            <pc:sldMk cId="2238933172" sldId="2147475705"/>
            <ac:spMk id="26" creationId="{F93491F3-184F-051E-A67A-D8DADFAE7ADD}"/>
          </ac:spMkLst>
        </pc:spChg>
        <pc:picChg chg="add mod">
          <ac:chgData name="Kasey Elkin" userId="84f925f2-579a-4827-8dbe-4132fee3a4a8" providerId="ADAL" clId="{724CB732-B505-436A-8F51-ED8A31FC091A}" dt="2026-06-03T23:58:55.272" v="2571" actId="1076"/>
          <ac:picMkLst>
            <pc:docMk/>
            <pc:sldMk cId="2238933172" sldId="2147475705"/>
            <ac:picMk id="3" creationId="{00BCFC4D-AB2B-77B1-804C-76E2930DD661}"/>
          </ac:picMkLst>
        </pc:picChg>
        <pc:picChg chg="add mod">
          <ac:chgData name="Kasey Elkin" userId="84f925f2-579a-4827-8dbe-4132fee3a4a8" providerId="ADAL" clId="{724CB732-B505-436A-8F51-ED8A31FC091A}" dt="2026-06-04T00:04:49.588" v="3444" actId="1076"/>
          <ac:picMkLst>
            <pc:docMk/>
            <pc:sldMk cId="2238933172" sldId="2147475705"/>
            <ac:picMk id="10" creationId="{39EB761F-E543-7019-0623-F18CCC4B883E}"/>
          </ac:picMkLst>
        </pc:picChg>
        <pc:picChg chg="add del mod">
          <ac:chgData name="Kasey Elkin" userId="84f925f2-579a-4827-8dbe-4132fee3a4a8" providerId="ADAL" clId="{724CB732-B505-436A-8F51-ED8A31FC091A}" dt="2026-06-03T23:59:22.533" v="2577" actId="478"/>
          <ac:picMkLst>
            <pc:docMk/>
            <pc:sldMk cId="2238933172" sldId="2147475705"/>
            <ac:picMk id="11" creationId="{C26F9181-6D25-7F18-E47A-AC2BD6D29A0B}"/>
          </ac:picMkLst>
        </pc:picChg>
      </pc:sldChg>
      <pc:sldChg chg="addSp modSp add mod modAnim">
        <pc:chgData name="Kasey Elkin" userId="84f925f2-579a-4827-8dbe-4132fee3a4a8" providerId="ADAL" clId="{724CB732-B505-436A-8F51-ED8A31FC091A}" dt="2026-06-04T00:20:11.873" v="3894" actId="113"/>
        <pc:sldMkLst>
          <pc:docMk/>
          <pc:sldMk cId="911316001" sldId="2147475706"/>
        </pc:sldMkLst>
        <pc:spChg chg="mod">
          <ac:chgData name="Kasey Elkin" userId="84f925f2-579a-4827-8dbe-4132fee3a4a8" providerId="ADAL" clId="{724CB732-B505-436A-8F51-ED8A31FC091A}" dt="2026-06-04T00:20:11.873" v="3894" actId="113"/>
          <ac:spMkLst>
            <pc:docMk/>
            <pc:sldMk cId="911316001" sldId="2147475706"/>
            <ac:spMk id="8" creationId="{48323AF9-9EEF-BD3C-2EDA-158070A84C4C}"/>
          </ac:spMkLst>
        </pc:spChg>
        <pc:picChg chg="add mod">
          <ac:chgData name="Kasey Elkin" userId="84f925f2-579a-4827-8dbe-4132fee3a4a8" providerId="ADAL" clId="{724CB732-B505-436A-8F51-ED8A31FC091A}" dt="2026-06-04T00:06:16.001" v="3506" actId="1076"/>
          <ac:picMkLst>
            <pc:docMk/>
            <pc:sldMk cId="911316001" sldId="2147475706"/>
            <ac:picMk id="6" creationId="{C7D203A6-8EB1-FD78-5318-7C31123BB5F4}"/>
          </ac:picMkLst>
        </pc:picChg>
        <pc:picChg chg="mod">
          <ac:chgData name="Kasey Elkin" userId="84f925f2-579a-4827-8dbe-4132fee3a4a8" providerId="ADAL" clId="{724CB732-B505-436A-8F51-ED8A31FC091A}" dt="2026-06-04T00:06:03.697" v="3502" actId="14100"/>
          <ac:picMkLst>
            <pc:docMk/>
            <pc:sldMk cId="911316001" sldId="2147475706"/>
            <ac:picMk id="10" creationId="{D0EB52F0-2DCE-0343-DE26-3316D0BF0094}"/>
          </ac:picMkLst>
        </pc:picChg>
      </pc:sldChg>
      <pc:sldChg chg="addSp delSp modSp add mod delAnim">
        <pc:chgData name="Kasey Elkin" userId="84f925f2-579a-4827-8dbe-4132fee3a4a8" providerId="ADAL" clId="{724CB732-B505-436A-8F51-ED8A31FC091A}" dt="2026-06-04T00:20:41.565" v="3907" actId="6549"/>
        <pc:sldMkLst>
          <pc:docMk/>
          <pc:sldMk cId="3815961318" sldId="2147475707"/>
        </pc:sldMkLst>
        <pc:spChg chg="del">
          <ac:chgData name="Kasey Elkin" userId="84f925f2-579a-4827-8dbe-4132fee3a4a8" providerId="ADAL" clId="{724CB732-B505-436A-8F51-ED8A31FC091A}" dt="2026-06-04T00:07:56.211" v="3641" actId="478"/>
          <ac:spMkLst>
            <pc:docMk/>
            <pc:sldMk cId="3815961318" sldId="2147475707"/>
            <ac:spMk id="4" creationId="{C7963481-23DC-AD6F-C6DF-295A00217296}"/>
          </ac:spMkLst>
        </pc:spChg>
        <pc:spChg chg="del">
          <ac:chgData name="Kasey Elkin" userId="84f925f2-579a-4827-8dbe-4132fee3a4a8" providerId="ADAL" clId="{724CB732-B505-436A-8F51-ED8A31FC091A}" dt="2026-06-04T00:07:56.211" v="3641" actId="478"/>
          <ac:spMkLst>
            <pc:docMk/>
            <pc:sldMk cId="3815961318" sldId="2147475707"/>
            <ac:spMk id="5" creationId="{142D1011-E428-4421-0BD2-F391432B3B63}"/>
          </ac:spMkLst>
        </pc:spChg>
        <pc:spChg chg="del">
          <ac:chgData name="Kasey Elkin" userId="84f925f2-579a-4827-8dbe-4132fee3a4a8" providerId="ADAL" clId="{724CB732-B505-436A-8F51-ED8A31FC091A}" dt="2026-06-04T00:07:56.211" v="3641" actId="478"/>
          <ac:spMkLst>
            <pc:docMk/>
            <pc:sldMk cId="3815961318" sldId="2147475707"/>
            <ac:spMk id="7" creationId="{0A2D1C0B-2F2C-E3FD-5160-9DD9DF6F2DBA}"/>
          </ac:spMkLst>
        </pc:spChg>
        <pc:spChg chg="mod">
          <ac:chgData name="Kasey Elkin" userId="84f925f2-579a-4827-8dbe-4132fee3a4a8" providerId="ADAL" clId="{724CB732-B505-436A-8F51-ED8A31FC091A}" dt="2026-06-04T00:20:41.565" v="3907" actId="6549"/>
          <ac:spMkLst>
            <pc:docMk/>
            <pc:sldMk cId="3815961318" sldId="2147475707"/>
            <ac:spMk id="8" creationId="{55C6B233-5817-23E9-316D-2E41D2DA7F72}"/>
          </ac:spMkLst>
        </pc:spChg>
        <pc:spChg chg="del">
          <ac:chgData name="Kasey Elkin" userId="84f925f2-579a-4827-8dbe-4132fee3a4a8" providerId="ADAL" clId="{724CB732-B505-436A-8F51-ED8A31FC091A}" dt="2026-06-04T00:07:56.211" v="3641" actId="478"/>
          <ac:spMkLst>
            <pc:docMk/>
            <pc:sldMk cId="3815961318" sldId="2147475707"/>
            <ac:spMk id="9" creationId="{421F66DB-DC0B-5EE3-33CC-3F119F8061C3}"/>
          </ac:spMkLst>
        </pc:spChg>
        <pc:spChg chg="add del mod">
          <ac:chgData name="Kasey Elkin" userId="84f925f2-579a-4827-8dbe-4132fee3a4a8" providerId="ADAL" clId="{724CB732-B505-436A-8F51-ED8A31FC091A}" dt="2026-06-04T00:08:31.595" v="3646" actId="478"/>
          <ac:spMkLst>
            <pc:docMk/>
            <pc:sldMk cId="3815961318" sldId="2147475707"/>
            <ac:spMk id="12" creationId="{BDE588DF-3EE4-7DD3-82DC-9F3C2632FA01}"/>
          </ac:spMkLst>
        </pc:spChg>
        <pc:spChg chg="add mod">
          <ac:chgData name="Kasey Elkin" userId="84f925f2-579a-4827-8dbe-4132fee3a4a8" providerId="ADAL" clId="{724CB732-B505-436A-8F51-ED8A31FC091A}" dt="2026-06-04T00:08:56.832" v="3651" actId="20577"/>
          <ac:spMkLst>
            <pc:docMk/>
            <pc:sldMk cId="3815961318" sldId="2147475707"/>
            <ac:spMk id="13" creationId="{A91E6E7F-FA27-9454-393F-3974A34E133C}"/>
          </ac:spMkLst>
        </pc:spChg>
        <pc:spChg chg="add mod">
          <ac:chgData name="Kasey Elkin" userId="84f925f2-579a-4827-8dbe-4132fee3a4a8" providerId="ADAL" clId="{724CB732-B505-436A-8F51-ED8A31FC091A}" dt="2026-06-04T00:09:20.543" v="3655" actId="1076"/>
          <ac:spMkLst>
            <pc:docMk/>
            <pc:sldMk cId="3815961318" sldId="2147475707"/>
            <ac:spMk id="15" creationId="{24094598-EFEA-871F-68BD-2975E31B6321}"/>
          </ac:spMkLst>
        </pc:spChg>
        <pc:picChg chg="del">
          <ac:chgData name="Kasey Elkin" userId="84f925f2-579a-4827-8dbe-4132fee3a4a8" providerId="ADAL" clId="{724CB732-B505-436A-8F51-ED8A31FC091A}" dt="2026-06-04T00:07:56.211" v="3641" actId="478"/>
          <ac:picMkLst>
            <pc:docMk/>
            <pc:sldMk cId="3815961318" sldId="2147475707"/>
            <ac:picMk id="3" creationId="{0BDE7479-21FE-3A84-FDA3-38F1736FB789}"/>
          </ac:picMkLst>
        </pc:picChg>
        <pc:picChg chg="del">
          <ac:chgData name="Kasey Elkin" userId="84f925f2-579a-4827-8dbe-4132fee3a4a8" providerId="ADAL" clId="{724CB732-B505-436A-8F51-ED8A31FC091A}" dt="2026-06-04T00:07:56.211" v="3641" actId="478"/>
          <ac:picMkLst>
            <pc:docMk/>
            <pc:sldMk cId="3815961318" sldId="2147475707"/>
            <ac:picMk id="6" creationId="{B2D2040A-55F7-E29F-8792-145D2C17C296}"/>
          </ac:picMkLst>
        </pc:picChg>
        <pc:picChg chg="del">
          <ac:chgData name="Kasey Elkin" userId="84f925f2-579a-4827-8dbe-4132fee3a4a8" providerId="ADAL" clId="{724CB732-B505-436A-8F51-ED8A31FC091A}" dt="2026-06-04T00:07:56.211" v="3641" actId="478"/>
          <ac:picMkLst>
            <pc:docMk/>
            <pc:sldMk cId="3815961318" sldId="2147475707"/>
            <ac:picMk id="10" creationId="{A0E6DD9D-34FD-37F6-2247-0EBD1672D351}"/>
          </ac:picMkLst>
        </pc:picChg>
        <pc:picChg chg="add mod">
          <ac:chgData name="Kasey Elkin" userId="84f925f2-579a-4827-8dbe-4132fee3a4a8" providerId="ADAL" clId="{724CB732-B505-436A-8F51-ED8A31FC091A}" dt="2026-06-04T00:08:28.029" v="3645" actId="1076"/>
          <ac:picMkLst>
            <pc:docMk/>
            <pc:sldMk cId="3815961318" sldId="2147475707"/>
            <ac:picMk id="11" creationId="{EF932C21-93FE-E797-B31E-F32709F847A7}"/>
          </ac:picMkLst>
        </pc:picChg>
        <pc:cxnChg chg="add mod">
          <ac:chgData name="Kasey Elkin" userId="84f925f2-579a-4827-8dbe-4132fee3a4a8" providerId="ADAL" clId="{724CB732-B505-436A-8F51-ED8A31FC091A}" dt="2026-06-04T00:08:51.689" v="3649" actId="1076"/>
          <ac:cxnSpMkLst>
            <pc:docMk/>
            <pc:sldMk cId="3815961318" sldId="2147475707"/>
            <ac:cxnSpMk id="14" creationId="{52E3328B-876A-7693-75E2-090A9E43D3BC}"/>
          </ac:cxnSpMkLst>
        </pc:cxnChg>
        <pc:cxnChg chg="add mod">
          <ac:chgData name="Kasey Elkin" userId="84f925f2-579a-4827-8dbe-4132fee3a4a8" providerId="ADAL" clId="{724CB732-B505-436A-8F51-ED8A31FC091A}" dt="2026-06-04T00:09:20.543" v="3655" actId="1076"/>
          <ac:cxnSpMkLst>
            <pc:docMk/>
            <pc:sldMk cId="3815961318" sldId="2147475707"/>
            <ac:cxnSpMk id="16" creationId="{C708A3AC-C1AA-0076-9987-A38AF5725333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F2DAB6-F888-443B-8446-3079267C92C5}" type="datetimeFigureOut">
              <a:rPr lang="en-US" smtClean="0"/>
              <a:t>6/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3B62B3-23A3-4DD3-A105-BCA6D15FA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7923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0494B-ABAB-35FA-1620-A9C937780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FE1D0F-6DBD-FE0A-35E4-C63B35D519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C6CCEA-355D-5C29-0224-945E40D99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Introduce self, talk about what team does</a:t>
            </a:r>
            <a:endParaRPr lang="en-US" dirty="0"/>
          </a:p>
          <a:p>
            <a:r>
              <a:rPr lang="en-US" dirty="0">
                <a:ea typeface="Calibri"/>
                <a:cs typeface="Calibri"/>
              </a:rPr>
              <a:t>Ask about audience background (any modeling experience, engineers, </a:t>
            </a:r>
            <a:r>
              <a:rPr lang="en-US" dirty="0" err="1">
                <a:ea typeface="Calibri"/>
                <a:cs typeface="Calibri"/>
              </a:rPr>
              <a:t>etc</a:t>
            </a:r>
            <a:r>
              <a:rPr lang="en-US" dirty="0">
                <a:ea typeface="Calibri"/>
                <a:cs typeface="Calibri"/>
              </a:rPr>
              <a:t>)</a:t>
            </a:r>
          </a:p>
          <a:p>
            <a:r>
              <a:rPr lang="en-US" dirty="0">
                <a:ea typeface="Calibri"/>
                <a:cs typeface="Calibri"/>
              </a:rPr>
              <a:t>system is so old; look back 100 years ago and how they built system and what pipe sizes and pressures and how they determined; compared to today we have forecast and mapping</a:t>
            </a:r>
          </a:p>
          <a:p>
            <a:r>
              <a:rPr lang="en-US" dirty="0">
                <a:ea typeface="Calibri"/>
                <a:cs typeface="Calibri"/>
              </a:rPr>
              <a:t>Ask for questions mid-presentation for engagement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A62513-E34C-B01D-78EE-D4C9104C79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3B62B3-23A3-4DD3-A105-BCA6D15FAB7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558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NPA reviews/justifi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0668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Replace with reg shutdow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4543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3B62B3-23A3-4DD3-A105-BCA6D15FAB7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7920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Complacency can lead to IAs (not modeling, or lack of attention to detai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567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SOPs, GCRs risk </a:t>
            </a:r>
            <a:r>
              <a:rPr lang="en-US" dirty="0" err="1">
                <a:ea typeface="Calibri"/>
                <a:cs typeface="Calibri"/>
              </a:rPr>
              <a:t>managemen</a:t>
            </a:r>
            <a:r>
              <a:rPr lang="en-US" dirty="0">
                <a:ea typeface="Calibri"/>
                <a:cs typeface="Calibri"/>
              </a:rPr>
              <a:t>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530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Talk about redundan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682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Minimize valves, only include significant ones </a:t>
            </a:r>
            <a:r>
              <a:rPr lang="en-US" dirty="0" err="1">
                <a:ea typeface="Calibri"/>
                <a:cs typeface="Calibri"/>
              </a:rPr>
              <a:t>bc</a:t>
            </a:r>
            <a:r>
              <a:rPr lang="en-US" dirty="0">
                <a:ea typeface="Calibri"/>
                <a:cs typeface="Calibri"/>
              </a:rPr>
              <a:t> it bogs down file siz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545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Talk about uses of temperature models; may add forecasting/adjustment factor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157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5DC99C81-5B48-A57E-867E-5EAD121730C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424B731-4829-4106-ABB6-7A2DF5B8A869}" type="slidenum">
              <a:rPr lang="en-US" altLang="en-US"/>
              <a:pPr/>
              <a:t>10</a:t>
            </a:fld>
            <a:endParaRPr lang="en-US" altLang="en-US"/>
          </a:p>
        </p:txBody>
      </p:sp>
      <p:sp>
        <p:nvSpPr>
          <p:cNvPr id="53250" name="Rectangle 2">
            <a:extLst>
              <a:ext uri="{FF2B5EF4-FFF2-40B4-BE49-F238E27FC236}">
                <a16:creationId xmlns:a16="http://schemas.microsoft.com/office/drawing/2014/main" id="{083D0AB8-FFBC-6443-B6FF-E8631F7180D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7E3B7A7D-9216-A41D-4F12-D8F295390BA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CF50C-461A-7860-AE5F-ACA3CCA69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1EB34804-DDE5-03F7-6262-CDC9C34FCE2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424B731-4829-4106-ABB6-7A2DF5B8A869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53250" name="Rectangle 2">
            <a:extLst>
              <a:ext uri="{FF2B5EF4-FFF2-40B4-BE49-F238E27FC236}">
                <a16:creationId xmlns:a16="http://schemas.microsoft.com/office/drawing/2014/main" id="{2D885F44-4AC2-6AB2-F904-3F693A0E65C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46A70B31-8F8A-F477-F98F-0E2A554AF4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>
                <a:ea typeface="Calibri"/>
                <a:cs typeface="Calibri"/>
              </a:rPr>
              <a:t>Top line on right is </a:t>
            </a:r>
            <a:r>
              <a:rPr lang="en-US" altLang="en-US" dirty="0" err="1">
                <a:ea typeface="Calibri"/>
                <a:cs typeface="Calibri"/>
              </a:rPr>
              <a:t>dth</a:t>
            </a:r>
            <a:r>
              <a:rPr lang="en-US" altLang="en-US" dirty="0">
                <a:ea typeface="Calibri"/>
                <a:cs typeface="Calibri"/>
              </a:rPr>
              <a:t> </a:t>
            </a:r>
            <a:r>
              <a:rPr lang="en-US" altLang="en-US" dirty="0" err="1">
                <a:ea typeface="Calibri"/>
                <a:cs typeface="Calibri"/>
              </a:rPr>
              <a:t>sendout</a:t>
            </a:r>
            <a:r>
              <a:rPr lang="en-US" altLang="en-US" dirty="0">
                <a:ea typeface="Calibri"/>
                <a:cs typeface="Calibri"/>
              </a:rPr>
              <a:t>, can delete, focus on % of total </a:t>
            </a:r>
            <a:r>
              <a:rPr lang="en-US" altLang="en-US" dirty="0" err="1">
                <a:ea typeface="Calibri"/>
                <a:cs typeface="Calibri"/>
              </a:rPr>
              <a:t>sendout</a:t>
            </a:r>
            <a:endParaRPr lang="en-US" altLang="en-US" dirty="0" err="1"/>
          </a:p>
        </p:txBody>
      </p:sp>
    </p:spTree>
    <p:extLst>
      <p:ext uri="{BB962C8B-B14F-4D97-AF65-F5344CB8AC3E}">
        <p14:creationId xmlns:p14="http://schemas.microsoft.com/office/powerpoint/2010/main" val="28284121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Important to help justify deci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495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Look at recently completed work, fire department closed a valve, etc. Add </a:t>
            </a:r>
            <a:r>
              <a:rPr lang="en-US" dirty="0" err="1">
                <a:ea typeface="Calibri"/>
                <a:cs typeface="Calibri"/>
              </a:rPr>
              <a:t>woburn</a:t>
            </a:r>
            <a:r>
              <a:rPr lang="en-US" dirty="0">
                <a:ea typeface="Calibri"/>
                <a:cs typeface="Calibri"/>
              </a:rPr>
              <a:t> example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05A307-B923-4C70-8BCF-69D79AB98C9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368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790B8154-5DE2-4AAF-BA93-77752AE8F8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007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57026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57885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494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14615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03156852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AEA460-792A-6965-2083-01D6A506C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654" y="6320566"/>
            <a:ext cx="1166017" cy="34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01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FBF9C-7004-6916-4BE6-554CCBEF7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5BFBB9-2080-8A93-8D6B-212DEB0D69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2061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A2A087D-51A7-4911-8C49-D5567C7BEC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3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A6DD53-9DDF-4380-943D-FEAEF1E2B3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3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C8B1CE67-807C-4CD8-846B-75ED6BA28B0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171351" y="1411200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5ECD47-6924-4412-A2BE-E25358505E3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91811" y="6295567"/>
            <a:ext cx="8730140" cy="2257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5C9E25-E8FC-4571-9F0E-B6FC7339C362}"/>
              </a:ext>
            </a:extLst>
          </p:cNvPr>
          <p:cNvGrpSpPr/>
          <p:nvPr/>
        </p:nvGrpSpPr>
        <p:grpSpPr>
          <a:xfrm>
            <a:off x="12275233" y="1"/>
            <a:ext cx="2706315" cy="1919363"/>
            <a:chOff x="3528102" y="847657"/>
            <a:chExt cx="2029736" cy="1919364"/>
          </a:xfrm>
        </p:grpSpPr>
        <p:sp>
          <p:nvSpPr>
            <p:cNvPr id="22" name="Guidance note">
              <a:extLst>
                <a:ext uri="{FF2B5EF4-FFF2-40B4-BE49-F238E27FC236}">
                  <a16:creationId xmlns:a16="http://schemas.microsoft.com/office/drawing/2014/main" id="{F38568F4-5A0F-40F0-8FBB-6422E0277B94}"/>
                </a:ext>
              </a:extLst>
            </p:cNvPr>
            <p:cNvSpPr/>
            <p:nvPr/>
          </p:nvSpPr>
          <p:spPr>
            <a:xfrm>
              <a:off x="3528102" y="847657"/>
              <a:ext cx="2029736" cy="191936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4" marR="0" lvl="2" indent="-90484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4" marR="0" lvl="2" indent="-90484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4" marR="0" lvl="2" indent="-90484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4" marR="0" lvl="2" indent="-90484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3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4" marR="0" lvl="2" indent="-90484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4" marR="0" lvl="2" indent="-90484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4" marR="0" lvl="2" indent="-90484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4" marR="0" lvl="2" indent="-90484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190E118-6008-404D-9BBA-3301784485B7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4" name="Picture 3">
                <a:extLst>
                  <a:ext uri="{FF2B5EF4-FFF2-40B4-BE49-F238E27FC236}">
                    <a16:creationId xmlns:a16="http://schemas.microsoft.com/office/drawing/2014/main" id="{44EEBD36-BB27-4765-8BDA-4AC6ADE187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D577D016-345B-492E-B8FD-385F82685C5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6" name="Guidance note">
            <a:extLst>
              <a:ext uri="{FF2B5EF4-FFF2-40B4-BE49-F238E27FC236}">
                <a16:creationId xmlns:a16="http://schemas.microsoft.com/office/drawing/2014/main" id="{9D013CB9-7A39-492E-8FF3-5B7C01C0C051}"/>
              </a:ext>
            </a:extLst>
          </p:cNvPr>
          <p:cNvSpPr/>
          <p:nvPr/>
        </p:nvSpPr>
        <p:spPr>
          <a:xfrm>
            <a:off x="12275233" y="2167654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4" marR="0" lvl="2" indent="-90484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3679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022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52890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Our headlines are written in sentence-case intended to tell a stand-alone story with impact and are a maximum of two lin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057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6C0FF1E-CB94-F7F8-2C57-E0FE7A25A0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9148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6" y="1411290"/>
            <a:ext cx="7247465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8480D57-B2D8-4496-806A-1824358683A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697EB0-B117-49FF-A917-A125A4BD1ADE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2"/>
          </a:xfrm>
        </p:grpSpPr>
        <p:sp>
          <p:nvSpPr>
            <p:cNvPr id="13" name="Guidance note">
              <a:extLst>
                <a:ext uri="{FF2B5EF4-FFF2-40B4-BE49-F238E27FC236}">
                  <a16:creationId xmlns:a16="http://schemas.microsoft.com/office/drawing/2014/main" id="{65D2E8E2-B939-47BE-ABAD-FE4F177614F2}"/>
                </a:ext>
              </a:extLst>
            </p:cNvPr>
            <p:cNvSpPr/>
            <p:nvPr/>
          </p:nvSpPr>
          <p:spPr>
            <a:xfrm>
              <a:off x="3528102" y="847657"/>
              <a:ext cx="2029736" cy="191936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marR="0" lvl="2" indent="-90486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marR="0" lvl="2" indent="-90486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marR="0" lvl="2" indent="-90486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marR="0" lvl="2" indent="-90486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3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3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marR="0" lvl="2" indent="-90486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marR="0" lvl="2" indent="-90486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marR="0" lvl="2" indent="-90486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marR="0" lvl="2" indent="-90486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4C7CE35-7986-402F-8390-31B932649199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5" name="Picture 3">
                <a:extLst>
                  <a:ext uri="{FF2B5EF4-FFF2-40B4-BE49-F238E27FC236}">
                    <a16:creationId xmlns:a16="http://schemas.microsoft.com/office/drawing/2014/main" id="{22217A6C-310C-4BB8-A473-2B8059187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Rounded Rectangle 20">
                <a:extLst>
                  <a:ext uri="{FF2B5EF4-FFF2-40B4-BE49-F238E27FC236}">
                    <a16:creationId xmlns:a16="http://schemas.microsoft.com/office/drawing/2014/main" id="{41C254A7-0433-4311-BD85-C0B8DE54934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390230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BUSINESS</a:t>
            </a:r>
            <a:r>
              <a:rPr spc="-25" dirty="0"/>
              <a:t> </a:t>
            </a:r>
            <a:r>
              <a:rPr dirty="0"/>
              <a:t>USE</a:t>
            </a:r>
            <a:r>
              <a:rPr spc="434" dirty="0"/>
              <a:t> </a:t>
            </a:r>
            <a:r>
              <a:rPr spc="-5" dirty="0"/>
              <a:t>©Rhode</a:t>
            </a:r>
            <a:r>
              <a:rPr spc="15" dirty="0"/>
              <a:t> </a:t>
            </a:r>
            <a:r>
              <a:rPr dirty="0"/>
              <a:t>Island</a:t>
            </a:r>
            <a:r>
              <a:rPr spc="-5" dirty="0"/>
              <a:t> Energy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800" b="0" i="1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For</a:t>
            </a:r>
            <a:r>
              <a:rPr spc="-30" dirty="0"/>
              <a:t> </a:t>
            </a:r>
            <a:r>
              <a:rPr dirty="0"/>
              <a:t>discussion</a:t>
            </a:r>
            <a:r>
              <a:rPr spc="-45" dirty="0"/>
              <a:t> </a:t>
            </a:r>
            <a:r>
              <a:rPr spc="-5" dirty="0"/>
              <a:t>purposes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99942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6A3A05-2E69-B986-BD9C-7D3336BAA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7CE614-7D2D-5F8E-9602-C8DB9417BC0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3F409-90A7-008D-1A4B-222F533AB9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7BCEA0-1417-5C7E-29F3-AC1042B771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123111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7D2AF-8E3B-85BD-4133-4FFEA08B5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123111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F424AE-2681-A482-5885-A744E1643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123111"/>
          </a:xfrm>
        </p:spPr>
        <p:txBody>
          <a:bodyPr/>
          <a:lstStyle>
            <a:lvl1pPr>
              <a:defRPr/>
            </a:lvl1pPr>
          </a:lstStyle>
          <a:p>
            <a:fld id="{5FB0F4DF-54B5-4974-AB1E-BC664250797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786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D970AD-8E78-F589-92CB-37806AA399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1515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7392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76586E5-8FD2-6F36-1956-9B8FAAC6C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918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153ED84-F893-5C48-EA50-5394FB8A52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74184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8592023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04253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14887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9464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183569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>
    <p:fade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7C2E0-4A56-1973-9629-2311A6782E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AEA80-9D37-CEDB-4CC9-D2CBD0C5D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390" y="808316"/>
            <a:ext cx="7322994" cy="3434500"/>
          </a:xfrm>
        </p:spPr>
        <p:txBody>
          <a:bodyPr/>
          <a:lstStyle/>
          <a:p>
            <a:r>
              <a:rPr lang="en-US" sz="4400" dirty="0"/>
              <a:t>Northeast Gas Association</a:t>
            </a:r>
            <a:br>
              <a:rPr lang="en-US" sz="4400" dirty="0"/>
            </a:br>
            <a:br>
              <a:rPr lang="en-US" sz="4400" dirty="0"/>
            </a:br>
            <a:r>
              <a:rPr lang="en-US" sz="2800" dirty="0"/>
              <a:t>Distribution System Modeling</a:t>
            </a: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r>
              <a:rPr lang="en-US" sz="2800" dirty="0"/>
              <a:t>Presented by: </a:t>
            </a:r>
            <a:br>
              <a:rPr lang="en-US" sz="2800" dirty="0"/>
            </a:br>
            <a:r>
              <a:rPr lang="en-US" sz="2800" b="0" dirty="0"/>
              <a:t>Kasey Elkin</a:t>
            </a:r>
            <a:br>
              <a:rPr lang="en-US" sz="2800" b="0" dirty="0"/>
            </a:br>
            <a:r>
              <a:rPr lang="en-US" sz="2800" b="0" dirty="0"/>
              <a:t>Manager – Gas Long Term Planning</a:t>
            </a:r>
            <a:br>
              <a:rPr lang="en-US" sz="4400" b="0" dirty="0"/>
            </a:b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8524962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5" name="Object 7">
            <a:extLst>
              <a:ext uri="{FF2B5EF4-FFF2-40B4-BE49-F238E27FC236}">
                <a16:creationId xmlns:a16="http://schemas.microsoft.com/office/drawing/2014/main" id="{FC0D3413-BD0F-1BCF-01A9-28A3CCB23BAB}"/>
              </a:ext>
            </a:extLst>
          </p:cNvPr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635936491"/>
              </p:ext>
            </p:extLst>
          </p:nvPr>
        </p:nvGraphicFramePr>
        <p:xfrm>
          <a:off x="4887598" y="1274813"/>
          <a:ext cx="7201308" cy="4336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7829643" imgH="5238627" progId="Excel.Chart.8">
                  <p:embed/>
                </p:oleObj>
              </mc:Choice>
              <mc:Fallback>
                <p:oleObj name="Chart" r:id="rId3" imgW="7829643" imgH="5238627" progId="Excel.Chart.8">
                  <p:embed/>
                  <p:pic>
                    <p:nvPicPr>
                      <p:cNvPr id="27655" name="Object 7">
                        <a:extLst>
                          <a:ext uri="{FF2B5EF4-FFF2-40B4-BE49-F238E27FC236}">
                            <a16:creationId xmlns:a16="http://schemas.microsoft.com/office/drawing/2014/main" id="{FC0D3413-BD0F-1BCF-01A9-28A3CCB23B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869" t="2269" r="13080" b="3665"/>
                      <a:stretch>
                        <a:fillRect/>
                      </a:stretch>
                    </p:blipFill>
                    <p:spPr bwMode="auto">
                      <a:xfrm>
                        <a:off x="4887598" y="1274813"/>
                        <a:ext cx="7201308" cy="4336055"/>
                      </a:xfrm>
                      <a:prstGeom prst="rect">
                        <a:avLst/>
                      </a:prstGeom>
                      <a:noFill/>
                      <a:ln w="19050" algn="ctr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7" name="Rectangle 9">
            <a:extLst>
              <a:ext uri="{FF2B5EF4-FFF2-40B4-BE49-F238E27FC236}">
                <a16:creationId xmlns:a16="http://schemas.microsoft.com/office/drawing/2014/main" id="{FEB1D70E-3ACD-6EA3-8C17-E6A18ED73C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1338" y="1437449"/>
            <a:ext cx="410075" cy="3922141"/>
          </a:xfrm>
          <a:prstGeom prst="rect">
            <a:avLst/>
          </a:prstGeom>
          <a:solidFill>
            <a:srgbClr val="C0C0C0">
              <a:alpha val="50000"/>
            </a:srgbClr>
          </a:solidFill>
          <a:ln w="349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7658" name="Rectangle 10">
            <a:extLst>
              <a:ext uri="{FF2B5EF4-FFF2-40B4-BE49-F238E27FC236}">
                <a16:creationId xmlns:a16="http://schemas.microsoft.com/office/drawing/2014/main" id="{38E66078-4350-9B75-3BFB-E6B109A70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4105" y="775618"/>
            <a:ext cx="4628294" cy="471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ctr">
              <a:buFontTx/>
              <a:buNone/>
            </a:pPr>
            <a:r>
              <a:rPr lang="en-US" altLang="en-US" sz="2400" dirty="0"/>
              <a:t>Daily Usage Pattern</a:t>
            </a:r>
            <a:endParaRPr lang="en-US" altLang="en-US" sz="2000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9DD5671-7351-652C-4333-3A1E18EF1F18}"/>
              </a:ext>
            </a:extLst>
          </p:cNvPr>
          <p:cNvSpPr txBox="1">
            <a:spLocks/>
          </p:cNvSpPr>
          <p:nvPr/>
        </p:nvSpPr>
        <p:spPr>
          <a:xfrm>
            <a:off x="239103" y="1011375"/>
            <a:ext cx="4612125" cy="5747901"/>
          </a:xfrm>
          <a:prstGeom prst="rect">
            <a:avLst/>
          </a:prstGeom>
        </p:spPr>
        <p:txBody>
          <a:bodyPr/>
          <a:lstStyle>
            <a:lvl1pPr marL="0" eaLnBrk="1" hangingPunct="1">
              <a:defRPr>
                <a:latin typeface="+mn-lt"/>
                <a:ea typeface="+mn-ea"/>
                <a:cs typeface="+mn-cs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600" u="sng" kern="0" dirty="0">
                <a:solidFill>
                  <a:schemeClr val="accent1"/>
                </a:solidFill>
              </a:rPr>
              <a:t>Example: </a:t>
            </a:r>
          </a:p>
          <a:p>
            <a:pPr>
              <a:spcAft>
                <a:spcPts val="600"/>
              </a:spcAft>
            </a:pPr>
            <a:r>
              <a:rPr lang="en-US" sz="1600" kern="0" dirty="0">
                <a:solidFill>
                  <a:schemeClr val="accent1"/>
                </a:solidFill>
              </a:rPr>
              <a:t>System </a:t>
            </a:r>
            <a:r>
              <a:rPr lang="en-US" sz="1600" kern="0" dirty="0" err="1">
                <a:solidFill>
                  <a:schemeClr val="accent1"/>
                </a:solidFill>
              </a:rPr>
              <a:t>Sendout</a:t>
            </a:r>
            <a:r>
              <a:rPr lang="en-US" sz="1600" kern="0" dirty="0">
                <a:solidFill>
                  <a:schemeClr val="accent1"/>
                </a:solidFill>
              </a:rPr>
              <a:t> 350,000 </a:t>
            </a:r>
            <a:r>
              <a:rPr lang="en-US" sz="1600" kern="0" dirty="0" err="1">
                <a:solidFill>
                  <a:schemeClr val="accent1"/>
                </a:solidFill>
              </a:rPr>
              <a:t>dth</a:t>
            </a:r>
            <a:r>
              <a:rPr lang="en-US" sz="1600" kern="0" dirty="0">
                <a:solidFill>
                  <a:schemeClr val="accent1"/>
                </a:solidFill>
              </a:rPr>
              <a:t>/d </a:t>
            </a:r>
          </a:p>
          <a:p>
            <a:pPr>
              <a:spcAft>
                <a:spcPts val="600"/>
              </a:spcAft>
            </a:pPr>
            <a:r>
              <a:rPr lang="en-US" sz="1600" kern="0" dirty="0">
                <a:solidFill>
                  <a:schemeClr val="accent1"/>
                </a:solidFill>
              </a:rPr>
              <a:t>National Grid assumes 5% peak hour</a:t>
            </a:r>
          </a:p>
          <a:p>
            <a:pPr>
              <a:spcAft>
                <a:spcPts val="600"/>
              </a:spcAft>
            </a:pPr>
            <a:r>
              <a:rPr lang="en-US" sz="1600" kern="0" dirty="0">
                <a:solidFill>
                  <a:schemeClr val="accent1"/>
                </a:solidFill>
              </a:rPr>
              <a:t>17,500 </a:t>
            </a:r>
            <a:r>
              <a:rPr lang="en-US" sz="1600" kern="0" dirty="0" err="1">
                <a:solidFill>
                  <a:schemeClr val="accent1"/>
                </a:solidFill>
              </a:rPr>
              <a:t>dth</a:t>
            </a:r>
            <a:r>
              <a:rPr lang="en-US" sz="1600" kern="0" dirty="0">
                <a:solidFill>
                  <a:schemeClr val="accent1"/>
                </a:solidFill>
              </a:rPr>
              <a:t>/</a:t>
            </a:r>
            <a:r>
              <a:rPr lang="en-US" sz="1600" kern="0" dirty="0" err="1">
                <a:solidFill>
                  <a:schemeClr val="accent1"/>
                </a:solidFill>
              </a:rPr>
              <a:t>hr</a:t>
            </a:r>
            <a:r>
              <a:rPr lang="en-US" sz="1600" kern="0" dirty="0">
                <a:solidFill>
                  <a:schemeClr val="accent1"/>
                </a:solidFill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 kern="0" dirty="0">
                <a:solidFill>
                  <a:schemeClr val="accent1"/>
                </a:solidFill>
              </a:rPr>
              <a:t>Typically, 1/24 supply contract to a city-gate (14,583 </a:t>
            </a:r>
            <a:r>
              <a:rPr lang="en-US" sz="1600" kern="0" dirty="0" err="1">
                <a:solidFill>
                  <a:schemeClr val="accent1"/>
                </a:solidFill>
              </a:rPr>
              <a:t>dth</a:t>
            </a:r>
            <a:r>
              <a:rPr lang="en-US" sz="1600" kern="0" dirty="0">
                <a:solidFill>
                  <a:schemeClr val="accent1"/>
                </a:solidFill>
              </a:rPr>
              <a:t>/</a:t>
            </a:r>
            <a:r>
              <a:rPr lang="en-US" sz="1600" kern="0" dirty="0" err="1">
                <a:solidFill>
                  <a:schemeClr val="accent1"/>
                </a:solidFill>
              </a:rPr>
              <a:t>hr</a:t>
            </a:r>
            <a:r>
              <a:rPr lang="en-US" sz="1600" kern="0" dirty="0">
                <a:solidFill>
                  <a:schemeClr val="accent1"/>
                </a:solidFill>
              </a:rPr>
              <a:t>, 4.2%)</a:t>
            </a:r>
          </a:p>
          <a:p>
            <a:pPr>
              <a:spcAft>
                <a:spcPts val="600"/>
              </a:spcAft>
            </a:pPr>
            <a:endParaRPr lang="en-US" sz="1600" kern="0" dirty="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u="sng" kern="0" dirty="0">
                <a:solidFill>
                  <a:schemeClr val="accent1"/>
                </a:solidFill>
              </a:rPr>
              <a:t>Design Day Supply Requirements:</a:t>
            </a:r>
            <a:endParaRPr lang="en-US" sz="1600" kern="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accent1"/>
                </a:solidFill>
              </a:rPr>
              <a:t>Calculate minimum LNG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accent1"/>
                </a:solidFill>
              </a:rPr>
              <a:t>Review Gas Supply Portfolio (Supply/Demand balance between pipeline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accent1"/>
                </a:solidFill>
              </a:rPr>
              <a:t>Review Max Daily Quantities/Max Hourly Quantities (MDQ/MHQ) at City-Gates</a:t>
            </a:r>
          </a:p>
          <a:p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89F1AFF-C484-56B9-B7C4-2BAB2847A4FD}"/>
              </a:ext>
            </a:extLst>
          </p:cNvPr>
          <p:cNvSpPr txBox="1">
            <a:spLocks/>
          </p:cNvSpPr>
          <p:nvPr/>
        </p:nvSpPr>
        <p:spPr>
          <a:xfrm>
            <a:off x="294468" y="242936"/>
            <a:ext cx="831613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eaLnBrk="1" hangingPunct="1">
              <a:defRPr sz="2800" b="1" i="0">
                <a:solidFill>
                  <a:srgbClr val="001388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/>
              <a:t>Model Development – Daily Usage Pattern</a:t>
            </a:r>
            <a:endParaRPr lang="en-US" kern="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976B36-1835-CB1E-F390-2040E48FF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2D341A8-554B-2EE1-D9D1-BDCEBDAD6F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823" r="17410"/>
          <a:stretch>
            <a:fillRect/>
          </a:stretch>
        </p:blipFill>
        <p:spPr>
          <a:xfrm>
            <a:off x="130759" y="1120463"/>
            <a:ext cx="5435462" cy="41127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D13260-A466-3008-1056-B331721189E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0078"/>
          <a:stretch>
            <a:fillRect/>
          </a:stretch>
        </p:blipFill>
        <p:spPr>
          <a:xfrm>
            <a:off x="6033888" y="1248510"/>
            <a:ext cx="6659240" cy="385945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0752978-15AF-1E28-7B8A-68FD2B549B77}"/>
              </a:ext>
            </a:extLst>
          </p:cNvPr>
          <p:cNvSpPr txBox="1">
            <a:spLocks/>
          </p:cNvSpPr>
          <p:nvPr/>
        </p:nvSpPr>
        <p:spPr>
          <a:xfrm>
            <a:off x="294468" y="242936"/>
            <a:ext cx="831613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eaLnBrk="1" hangingPunct="1">
              <a:defRPr sz="2800" b="1" i="0">
                <a:solidFill>
                  <a:srgbClr val="001388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/>
              <a:t>Model Development – Daily Usage Pattern</a:t>
            </a:r>
            <a:endParaRPr lang="en-US" kern="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6A3809B-BE95-FDDA-3946-DAC130CD4EAE}"/>
              </a:ext>
            </a:extLst>
          </p:cNvPr>
          <p:cNvSpPr/>
          <p:nvPr/>
        </p:nvSpPr>
        <p:spPr>
          <a:xfrm>
            <a:off x="10939726" y="4311061"/>
            <a:ext cx="385482" cy="3003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CA0F79-97C0-06BC-9B19-B6091A649ACD}"/>
              </a:ext>
            </a:extLst>
          </p:cNvPr>
          <p:cNvSpPr txBox="1"/>
          <p:nvPr/>
        </p:nvSpPr>
        <p:spPr>
          <a:xfrm>
            <a:off x="294467" y="5238527"/>
            <a:ext cx="11414845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Typical Load Curve  - Dinner load (5pm – 9pm) and morning load peaks (5am – 9am)</a:t>
            </a:r>
          </a:p>
          <a:p>
            <a:pPr>
              <a:spcAft>
                <a:spcPts val="600"/>
              </a:spcAft>
            </a:pPr>
            <a:r>
              <a:rPr lang="en-US" dirty="0" err="1"/>
              <a:t>Synergi</a:t>
            </a:r>
            <a:r>
              <a:rPr lang="en-US" dirty="0"/>
              <a:t> Steady State Application is a screenshot in time, typically modeled to prepare for the peak hour of an anticipated daily </a:t>
            </a:r>
            <a:r>
              <a:rPr lang="en-US" dirty="0" err="1"/>
              <a:t>sendout</a:t>
            </a:r>
            <a:r>
              <a:rPr lang="en-US" dirty="0"/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D099132-4039-D7E4-22E4-FDBAAFAA134B}"/>
              </a:ext>
            </a:extLst>
          </p:cNvPr>
          <p:cNvSpPr/>
          <p:nvPr/>
        </p:nvSpPr>
        <p:spPr>
          <a:xfrm>
            <a:off x="4463697" y="4664211"/>
            <a:ext cx="385482" cy="3003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A78051B-3970-63BC-86D7-77B7A08F6C00}"/>
              </a:ext>
            </a:extLst>
          </p:cNvPr>
          <p:cNvCxnSpPr>
            <a:cxnSpLocks/>
          </p:cNvCxnSpPr>
          <p:nvPr/>
        </p:nvCxnSpPr>
        <p:spPr>
          <a:xfrm>
            <a:off x="3707576" y="2583743"/>
            <a:ext cx="493058" cy="4168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C1DF596-ADA6-D0B2-7941-E4F8141EE7EB}"/>
              </a:ext>
            </a:extLst>
          </p:cNvPr>
          <p:cNvCxnSpPr>
            <a:cxnSpLocks/>
          </p:cNvCxnSpPr>
          <p:nvPr/>
        </p:nvCxnSpPr>
        <p:spPr>
          <a:xfrm flipV="1">
            <a:off x="9918662" y="2177143"/>
            <a:ext cx="771109" cy="713752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762637D-8914-F4FE-1F74-73A913590FCA}"/>
              </a:ext>
            </a:extLst>
          </p:cNvPr>
          <p:cNvSpPr txBox="1"/>
          <p:nvPr/>
        </p:nvSpPr>
        <p:spPr>
          <a:xfrm>
            <a:off x="1959429" y="790129"/>
            <a:ext cx="1528482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mp / HD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887068-E6B0-F337-76B8-3B911B91E828}"/>
              </a:ext>
            </a:extLst>
          </p:cNvPr>
          <p:cNvSpPr txBox="1"/>
          <p:nvPr/>
        </p:nvSpPr>
        <p:spPr>
          <a:xfrm>
            <a:off x="6712866" y="790129"/>
            <a:ext cx="4996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Sendout</a:t>
            </a:r>
            <a:r>
              <a:rPr lang="en-US" dirty="0"/>
              <a:t> (% of total day </a:t>
            </a:r>
            <a:r>
              <a:rPr lang="en-US" dirty="0" err="1"/>
              <a:t>sendou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13892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1504597" cy="492443"/>
          </a:xfrm>
        </p:spPr>
        <p:txBody>
          <a:bodyPr/>
          <a:lstStyle/>
          <a:p>
            <a:r>
              <a:rPr lang="en-US" dirty="0"/>
              <a:t>Model Verification – How Accurate Are Model Predictions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560366" y="1028743"/>
            <a:ext cx="10972800" cy="4811574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800" b="0" dirty="0"/>
              <a:t>Select Verification Day (Coldest observed gas day, highest </a:t>
            </a:r>
            <a:r>
              <a:rPr lang="en-US" sz="1800" b="0" dirty="0" err="1"/>
              <a:t>sendout</a:t>
            </a:r>
            <a:r>
              <a:rPr lang="en-US" sz="1800" b="0" dirty="0"/>
              <a:t> gas day, or operational discrepancy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0" dirty="0"/>
              <a:t>SCADA Extract, large customer meter/usage data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0" dirty="0"/>
              <a:t>Review &amp; update model - Completed or in progress work, reg station upgrad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0" dirty="0"/>
              <a:t>Match Observed System </a:t>
            </a:r>
            <a:r>
              <a:rPr lang="en-US" sz="1800" b="0" dirty="0" err="1"/>
              <a:t>Sendout</a:t>
            </a:r>
            <a:r>
              <a:rPr lang="en-US" sz="1800" b="0" dirty="0"/>
              <a:t> peak hour to Mode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0" dirty="0"/>
              <a:t>Match Observed Operational set points (reg settings, LNG output, BTU value, </a:t>
            </a:r>
            <a:r>
              <a:rPr lang="en-US" sz="1800" b="0" dirty="0" err="1"/>
              <a:t>etc</a:t>
            </a:r>
            <a:r>
              <a:rPr lang="en-US" sz="1800" b="0" dirty="0"/>
              <a:t>)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Compare Model Data Vs Observed SCADA Data: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Investigation triggered when a point is out of acceptable tolerances 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(ex: LP 1” </a:t>
            </a:r>
            <a:r>
              <a:rPr lang="en-US" sz="1800" b="0" dirty="0" err="1"/>
              <a:t>wc</a:t>
            </a:r>
            <a:r>
              <a:rPr lang="en-US" sz="1800" b="0" dirty="0"/>
              <a:t> variation, HP 10% MAOP)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Gate Station flow rate comparison 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Regulator Station Performance – review utilization, unable to maintain set point (drooping outlet)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Compile findings in a report &amp; determine % accuracy of the model prediction to the observed field conditions</a:t>
            </a:r>
          </a:p>
          <a:p>
            <a:r>
              <a:rPr lang="en-US" sz="1800" b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87193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664FB-EAEE-CA74-CB63-4EFF03AC2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1DD63-8978-E502-1417-CEBEEC2B91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1897532" cy="492443"/>
          </a:xfrm>
        </p:spPr>
        <p:txBody>
          <a:bodyPr/>
          <a:lstStyle/>
          <a:p>
            <a:r>
              <a:rPr lang="en-US" dirty="0"/>
              <a:t>Model Verification – How Accurate Are Model Predictions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26C492-78C7-68AC-8933-C226C9A71A6C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1107996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FC826C-A21E-7BE9-4BA1-1932838F6ACA}"/>
              </a:ext>
            </a:extLst>
          </p:cNvPr>
          <p:cNvSpPr txBox="1"/>
          <p:nvPr/>
        </p:nvSpPr>
        <p:spPr>
          <a:xfrm>
            <a:off x="294468" y="1036037"/>
            <a:ext cx="4879042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Field Issues</a:t>
            </a:r>
            <a:r>
              <a:rPr lang="en-US" dirty="0"/>
              <a:t>: </a:t>
            </a:r>
          </a:p>
          <a:p>
            <a:pPr>
              <a:spcAft>
                <a:spcPts val="600"/>
              </a:spcAft>
            </a:pPr>
            <a:r>
              <a:rPr lang="en-US" dirty="0"/>
              <a:t>Pressure worse at SCADA point in field compared to model</a:t>
            </a:r>
          </a:p>
          <a:p>
            <a:pPr>
              <a:spcAft>
                <a:spcPts val="600"/>
              </a:spcAft>
            </a:pPr>
            <a:r>
              <a:rPr lang="en-US" u="sng" dirty="0"/>
              <a:t>Root Causes:</a:t>
            </a:r>
            <a:r>
              <a:rPr lang="en-US" dirty="0"/>
              <a:t> closed valve, unknown obstruction, GIS or records error, restrictive fittings, leak concentration (pipe efficiency)</a:t>
            </a:r>
          </a:p>
          <a:p>
            <a:pPr>
              <a:spcAft>
                <a:spcPts val="600"/>
              </a:spcAft>
            </a:pPr>
            <a:r>
              <a:rPr lang="en-US" u="sng" dirty="0"/>
              <a:t>Actions:</a:t>
            </a:r>
            <a:r>
              <a:rPr lang="en-US" dirty="0"/>
              <a:t> Field coordination to inspect valves, camera mains, add SCADA points, etc.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b="1" dirty="0"/>
              <a:t>Model Issues</a:t>
            </a:r>
            <a:r>
              <a:rPr lang="en-US" dirty="0"/>
              <a:t>: </a:t>
            </a:r>
          </a:p>
          <a:p>
            <a:pPr>
              <a:spcAft>
                <a:spcPts val="600"/>
              </a:spcAft>
            </a:pPr>
            <a:r>
              <a:rPr lang="en-US" dirty="0"/>
              <a:t>Pressure worse in model compared to SCADA </a:t>
            </a:r>
          </a:p>
          <a:p>
            <a:pPr>
              <a:spcAft>
                <a:spcPts val="600"/>
              </a:spcAft>
            </a:pPr>
            <a:r>
              <a:rPr lang="en-US" u="sng" dirty="0"/>
              <a:t>Root Causes:</a:t>
            </a:r>
            <a:r>
              <a:rPr lang="en-US" dirty="0"/>
              <a:t> projects completed in field not updated in model; reg station facilities incorrect; pipes not connected in the model; customer loading issues</a:t>
            </a:r>
          </a:p>
          <a:p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1F8D6D3-D4CC-8D1E-2903-1A56B4EEEB83}"/>
              </a:ext>
            </a:extLst>
          </p:cNvPr>
          <p:cNvGrpSpPr/>
          <p:nvPr/>
        </p:nvGrpSpPr>
        <p:grpSpPr>
          <a:xfrm>
            <a:off x="5873465" y="1498580"/>
            <a:ext cx="6116664" cy="4214781"/>
            <a:chOff x="5780868" y="1385876"/>
            <a:chExt cx="6116664" cy="421478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594295D-FC8A-5FE6-77CE-697375554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7542" r="6771"/>
            <a:stretch>
              <a:fillRect/>
            </a:stretch>
          </p:blipFill>
          <p:spPr>
            <a:xfrm>
              <a:off x="5780868" y="1385877"/>
              <a:ext cx="3026228" cy="421478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16A864B-B93F-9914-C90B-41D1CB513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7810" r="18914"/>
            <a:stretch>
              <a:fillRect/>
            </a:stretch>
          </p:blipFill>
          <p:spPr>
            <a:xfrm>
              <a:off x="9037755" y="1385876"/>
              <a:ext cx="2859777" cy="4214781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DF5ACC-E1A5-48BF-88BD-782AD4FC3BC2}"/>
                </a:ext>
              </a:extLst>
            </p:cNvPr>
            <p:cNvSpPr txBox="1"/>
            <p:nvPr/>
          </p:nvSpPr>
          <p:spPr bwMode="auto">
            <a:xfrm>
              <a:off x="6118048" y="1480456"/>
              <a:ext cx="2351868" cy="2154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US" sz="1400" b="0" kern="0" dirty="0">
                  <a:solidFill>
                    <a:schemeClr val="tx1"/>
                  </a:solidFill>
                  <a:latin typeface="+mn-lt"/>
                  <a:ea typeface="+mn-ea"/>
                </a:rPr>
                <a:t>SCADA Pressure: 72.7 </a:t>
              </a:r>
              <a:r>
                <a:rPr lang="en-US" sz="1400" b="0" kern="0" dirty="0" err="1">
                  <a:solidFill>
                    <a:schemeClr val="tx1"/>
                  </a:solidFill>
                  <a:latin typeface="+mn-lt"/>
                  <a:ea typeface="+mn-ea"/>
                </a:rPr>
                <a:t>psig</a:t>
              </a:r>
              <a:endParaRPr lang="en-US" sz="1400" b="0" kern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246262-B3FC-F70B-E17C-2768E1058BD8}"/>
                </a:ext>
              </a:extLst>
            </p:cNvPr>
            <p:cNvSpPr txBox="1"/>
            <p:nvPr/>
          </p:nvSpPr>
          <p:spPr bwMode="auto">
            <a:xfrm>
              <a:off x="9291709" y="1480456"/>
              <a:ext cx="2351868" cy="2154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US" sz="1400" b="0" kern="0" dirty="0">
                  <a:solidFill>
                    <a:schemeClr val="tx1"/>
                  </a:solidFill>
                  <a:latin typeface="+mn-lt"/>
                  <a:ea typeface="+mn-ea"/>
                </a:rPr>
                <a:t>SCADA Pressure: 72.7 </a:t>
              </a:r>
              <a:r>
                <a:rPr lang="en-US" sz="1400" b="0" kern="0" dirty="0" err="1">
                  <a:solidFill>
                    <a:schemeClr val="tx1"/>
                  </a:solidFill>
                  <a:latin typeface="+mn-lt"/>
                  <a:ea typeface="+mn-ea"/>
                </a:rPr>
                <a:t>psig</a:t>
              </a:r>
              <a:endParaRPr lang="en-US" sz="1400" b="0" kern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7A621F-A3C9-4966-20D2-DF8C3673F13F}"/>
                </a:ext>
              </a:extLst>
            </p:cNvPr>
            <p:cNvSpPr txBox="1"/>
            <p:nvPr/>
          </p:nvSpPr>
          <p:spPr bwMode="auto">
            <a:xfrm>
              <a:off x="6204030" y="4492662"/>
              <a:ext cx="1114613" cy="3231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US" sz="1050" b="0" kern="0" dirty="0">
                  <a:solidFill>
                    <a:schemeClr val="tx1"/>
                  </a:solidFill>
                  <a:latin typeface="+mn-lt"/>
                  <a:ea typeface="+mn-ea"/>
                </a:rPr>
                <a:t>Special Contract Powerplant Load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1959DE4-15D2-E901-3839-5DB3439C3505}"/>
                </a:ext>
              </a:extLst>
            </p:cNvPr>
            <p:cNvCxnSpPr>
              <a:cxnSpLocks/>
              <a:stCxn id="12" idx="3"/>
            </p:cNvCxnSpPr>
            <p:nvPr/>
          </p:nvCxnSpPr>
          <p:spPr bwMode="auto">
            <a:xfrm flipV="1">
              <a:off x="7318643" y="4109013"/>
              <a:ext cx="899382" cy="54523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1" name="Rectangle 10">
            <a:extLst>
              <a:ext uri="{FF2B5EF4-FFF2-40B4-BE49-F238E27FC236}">
                <a16:creationId xmlns:a16="http://schemas.microsoft.com/office/drawing/2014/main" id="{7F342602-E8B1-E3B2-1549-9ECFE7495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5546" y="972828"/>
            <a:ext cx="4628294" cy="471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ctr">
              <a:buFontTx/>
              <a:buNone/>
            </a:pPr>
            <a:r>
              <a:rPr lang="en-US" altLang="en-US" sz="2000" u="sng" dirty="0"/>
              <a:t>Model Issues Example:</a:t>
            </a:r>
            <a:endParaRPr lang="en-US" altLang="en-US" sz="1800" u="sng" dirty="0"/>
          </a:p>
        </p:txBody>
      </p:sp>
    </p:spTree>
    <p:extLst>
      <p:ext uri="{BB962C8B-B14F-4D97-AF65-F5344CB8AC3E}">
        <p14:creationId xmlns:p14="http://schemas.microsoft.com/office/powerpoint/2010/main" val="876912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21" grpId="2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7581" y="3025007"/>
            <a:ext cx="7497420" cy="646331"/>
          </a:xfrm>
        </p:spPr>
        <p:txBody>
          <a:bodyPr/>
          <a:lstStyle/>
          <a:p>
            <a:r>
              <a:rPr lang="en-US" sz="4200" dirty="0"/>
              <a:t>Part 2: Modeling Applications</a:t>
            </a:r>
          </a:p>
        </p:txBody>
      </p:sp>
    </p:spTree>
    <p:extLst>
      <p:ext uri="{BB962C8B-B14F-4D97-AF65-F5344CB8AC3E}">
        <p14:creationId xmlns:p14="http://schemas.microsoft.com/office/powerpoint/2010/main" val="1790913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613F6-AB33-03D0-ECD2-2BAF0C62E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713C-DD3E-2518-7F9A-BE2180F5CE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7" y="242936"/>
            <a:ext cx="10766467" cy="430887"/>
          </a:xfrm>
        </p:spPr>
        <p:txBody>
          <a:bodyPr/>
          <a:lstStyle/>
          <a:p>
            <a:r>
              <a:rPr lang="en-US" dirty="0"/>
              <a:t>Part 2: System Planning – Design Paramet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458211-147E-4F80-FAEA-47D579A9117A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364240" y="983919"/>
            <a:ext cx="10378285" cy="7232749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b="1" dirty="0"/>
              <a:t>Maximum Allowable Operating Pressure (MAOP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/>
              <a:t>Determine MOP based on regulator set poin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/>
              <a:t>Material and fitting requiremen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/>
              <a:t>Excess Flow Valves</a:t>
            </a:r>
          </a:p>
          <a:p>
            <a:pPr>
              <a:spcAft>
                <a:spcPts val="600"/>
              </a:spcAft>
            </a:pPr>
            <a:r>
              <a:rPr lang="en-US" sz="1600" b="1" dirty="0"/>
              <a:t>Minimum Design Pressure (</a:t>
            </a:r>
            <a:r>
              <a:rPr lang="en-US" sz="1600" b="1" dirty="0" err="1"/>
              <a:t>MinOP</a:t>
            </a:r>
            <a:r>
              <a:rPr lang="en-US" sz="1600" b="1" dirty="0"/>
              <a:t>)</a:t>
            </a:r>
            <a:endParaRPr lang="en-US" sz="1600" b="1" dirty="0">
              <a:sym typeface="Wingdings" panose="05000000000000000000" pitchFamily="2" charset="2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Customer Requirements, </a:t>
            </a:r>
            <a:r>
              <a:rPr lang="en-US" sz="1400" b="0" dirty="0" err="1">
                <a:sym typeface="Wingdings" panose="05000000000000000000" pitchFamily="2" charset="2"/>
              </a:rPr>
              <a:t>etc</a:t>
            </a:r>
            <a:endParaRPr lang="en-US" sz="1400" b="0" dirty="0"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r>
              <a:rPr lang="en-US" sz="1600" b="1" dirty="0">
                <a:sym typeface="Wingdings" panose="05000000000000000000" pitchFamily="2" charset="2"/>
              </a:rPr>
              <a:t>Velocity and Pressure Drop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New vs Existing parameters, mains, services, different MAOPs, etc.</a:t>
            </a:r>
          </a:p>
          <a:p>
            <a:pPr>
              <a:spcAft>
                <a:spcPts val="600"/>
              </a:spcAft>
            </a:pPr>
            <a:r>
              <a:rPr lang="en-US" sz="1600" b="1" dirty="0">
                <a:sym typeface="Wingdings" panose="05000000000000000000" pitchFamily="2" charset="2"/>
              </a:rPr>
              <a:t>Reg Station Utilization % </a:t>
            </a:r>
            <a:endParaRPr lang="en-US" sz="1600" dirty="0">
              <a:sym typeface="Wingdings" panose="05000000000000000000" pitchFamily="2" charset="2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Multi Run Redundanc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MOP set poin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Minimum inlet pressure requirements</a:t>
            </a:r>
            <a:endParaRPr lang="en-US" sz="1400" b="0" dirty="0"/>
          </a:p>
          <a:p>
            <a:pPr>
              <a:spcAft>
                <a:spcPts val="600"/>
              </a:spcAft>
            </a:pPr>
            <a:r>
              <a:rPr lang="en-US" sz="1600" b="1" dirty="0"/>
              <a:t>Other Paramet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Minimum new main or service sizing for a range of MAOP subsystems (Tables shown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Allowable number of customers on a single feed system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SCADA Alarm parameters, operational limitat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ym typeface="Wingdings" panose="05000000000000000000" pitchFamily="2" charset="2"/>
              </a:rPr>
              <a:t>Isolation zones &amp; critical valve criteria</a:t>
            </a:r>
          </a:p>
          <a:p>
            <a:pPr>
              <a:spcAft>
                <a:spcPts val="600"/>
              </a:spcAft>
            </a:pPr>
            <a:r>
              <a:rPr lang="en-US" sz="1200" dirty="0">
                <a:sym typeface="Wingdings" panose="05000000000000000000" pitchFamily="2" charset="2"/>
              </a:rPr>
              <a:t>	</a:t>
            </a:r>
          </a:p>
          <a:p>
            <a:pPr>
              <a:spcAft>
                <a:spcPts val="600"/>
              </a:spcAft>
            </a:pPr>
            <a:endParaRPr lang="en-US" sz="1800" dirty="0"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endParaRPr lang="en-US" sz="1800" dirty="0"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endParaRPr lang="en-US" sz="1800" dirty="0"/>
          </a:p>
          <a:p>
            <a:pPr>
              <a:spcAft>
                <a:spcPts val="600"/>
              </a:spcAft>
            </a:pPr>
            <a:endParaRPr lang="en-US" sz="1800" dirty="0"/>
          </a:p>
          <a:p>
            <a:pPr>
              <a:spcAft>
                <a:spcPts val="600"/>
              </a:spcAft>
            </a:pPr>
            <a:r>
              <a:rPr lang="en-US" sz="1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A9C63A-090D-5C52-D1E5-F72FC84B3CA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805"/>
          <a:stretch>
            <a:fillRect/>
          </a:stretch>
        </p:blipFill>
        <p:spPr>
          <a:xfrm>
            <a:off x="5145603" y="1420541"/>
            <a:ext cx="7046397" cy="15128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56F1DE-83A8-C5A7-9EDB-854CA7E79D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582" y="3524389"/>
            <a:ext cx="7635418" cy="80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900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E3AB50F-A5A8-C357-7E48-6699481D4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9664" y="1214606"/>
            <a:ext cx="4427604" cy="49534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-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98D33A-A00B-3223-5CB7-18A0DF7685AC}"/>
              </a:ext>
            </a:extLst>
          </p:cNvPr>
          <p:cNvSpPr txBox="1"/>
          <p:nvPr/>
        </p:nvSpPr>
        <p:spPr>
          <a:xfrm>
            <a:off x="294468" y="874454"/>
            <a:ext cx="8498851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dirty="0">
                <a:solidFill>
                  <a:schemeClr val="accent1"/>
                </a:solidFill>
              </a:rPr>
              <a:t>Utilizing </a:t>
            </a:r>
            <a:r>
              <a:rPr lang="en-US" sz="1400" dirty="0" err="1">
                <a:solidFill>
                  <a:schemeClr val="accent1"/>
                </a:solidFill>
              </a:rPr>
              <a:t>Synergi</a:t>
            </a:r>
            <a:r>
              <a:rPr lang="en-US" sz="1400" dirty="0">
                <a:solidFill>
                  <a:schemeClr val="accent1"/>
                </a:solidFill>
              </a:rPr>
              <a:t> Models for various business requirements: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Developing a Capital Work Plan 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Justification of capital project need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Reinforcement projects for projected low points, reg station utilizatio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Supply Constraints, LNG Ops, Portable LNG needs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Winter Operation Recommenda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Reg Settings, Anticipated Low Points, Special Opera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Field Ops troubleshooting (poor pressure investigation) 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Asset Management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Main sizing, regulator station work (new/replace/abandon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Low pressure system elimination strategy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Critical valves, sectionalizing, area isolation 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Risk assessments of critical infrastructure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Gas Segment Decommissioning Feasibility (NPAs)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Load Shed Planning, Contingency Planning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Gas Capacity Request (New Customers, Growth Analysis) 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Reviewing Planned work (SOP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ie-ins, cut offs, bypass requirement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Reg station shutdowns, set point adjustment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emperature/HDD restrictions</a:t>
            </a:r>
          </a:p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Emergency Respon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13C1F3-0EE2-17C2-1A15-BC6B3BE0173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rcRect r="853" b="11202"/>
          <a:stretch>
            <a:fillRect/>
          </a:stretch>
        </p:blipFill>
        <p:spPr>
          <a:xfrm>
            <a:off x="6839665" y="1214606"/>
            <a:ext cx="4427604" cy="4953429"/>
          </a:xfrm>
          <a:prstGeom prst="rect">
            <a:avLst/>
          </a:prstGeom>
        </p:spPr>
      </p:pic>
      <p:sp>
        <p:nvSpPr>
          <p:cNvPr id="10" name="Rectangle 10">
            <a:extLst>
              <a:ext uri="{FF2B5EF4-FFF2-40B4-BE49-F238E27FC236}">
                <a16:creationId xmlns:a16="http://schemas.microsoft.com/office/drawing/2014/main" id="{F4301E4E-F7DE-B833-362D-95302D2E54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9172" y="785829"/>
            <a:ext cx="4628294" cy="471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ctr">
              <a:buFontTx/>
              <a:buNone/>
            </a:pPr>
            <a:r>
              <a:rPr lang="en-US" altLang="en-US" sz="2000" u="sng" dirty="0"/>
              <a:t>System Reinforcement Example:</a:t>
            </a:r>
            <a:endParaRPr lang="en-US" altLang="en-US" sz="1800" u="sng" dirty="0"/>
          </a:p>
        </p:txBody>
      </p:sp>
    </p:spTree>
    <p:extLst>
      <p:ext uri="{BB962C8B-B14F-4D97-AF65-F5344CB8AC3E}">
        <p14:creationId xmlns:p14="http://schemas.microsoft.com/office/powerpoint/2010/main" val="2107707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7" y="242936"/>
            <a:ext cx="10920379" cy="492443"/>
          </a:xfrm>
        </p:spPr>
        <p:txBody>
          <a:bodyPr/>
          <a:lstStyle/>
          <a:p>
            <a:r>
              <a:rPr lang="en-US" dirty="0"/>
              <a:t>Model Application – Basic Conce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04787" y="847882"/>
            <a:ext cx="11782425" cy="324704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0" u="sng" dirty="0"/>
              <a:t>Example: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From Node </a:t>
            </a:r>
            <a:r>
              <a:rPr lang="en-US" sz="1600" b="0" dirty="0"/>
              <a:t>– Pressure Set to 55 PSIG (KNOWN pressure)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Facility (pipe) </a:t>
            </a:r>
            <a:r>
              <a:rPr lang="en-US" sz="1600" b="0" dirty="0"/>
              <a:t>– 4” PL 3,000 ft (Known Facility components such as ID, Length, material </a:t>
            </a:r>
            <a:r>
              <a:rPr lang="en-US" sz="1600" b="0" dirty="0" err="1"/>
              <a:t>etc</a:t>
            </a:r>
            <a:r>
              <a:rPr lang="en-US" sz="1600" b="0" dirty="0"/>
              <a:t>)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To Node </a:t>
            </a:r>
            <a:r>
              <a:rPr lang="en-US" sz="1600" b="0" dirty="0"/>
              <a:t>– Flow set demand to 60 </a:t>
            </a:r>
            <a:r>
              <a:rPr lang="en-US" sz="1600" b="0" dirty="0" err="1"/>
              <a:t>Dth</a:t>
            </a:r>
            <a:r>
              <a:rPr lang="en-US" sz="1600" b="0" dirty="0"/>
              <a:t>/</a:t>
            </a:r>
            <a:r>
              <a:rPr lang="en-US" sz="1600" b="0" dirty="0" err="1"/>
              <a:t>hr</a:t>
            </a:r>
            <a:r>
              <a:rPr lang="en-US" sz="1600" b="0" dirty="0"/>
              <a:t> (KNOWN flow rate)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Solving For </a:t>
            </a:r>
            <a:r>
              <a:rPr lang="en-US" sz="1600" b="0" dirty="0">
                <a:sym typeface="Wingdings" panose="05000000000000000000" pitchFamily="2" charset="2"/>
              </a:rPr>
              <a:t> </a:t>
            </a:r>
            <a:r>
              <a:rPr lang="en-US" sz="1600" b="0" i="1" u="sng" dirty="0">
                <a:sym typeface="Wingdings" panose="05000000000000000000" pitchFamily="2" charset="2"/>
              </a:rPr>
              <a:t>To Node Pressure</a:t>
            </a:r>
            <a:endParaRPr lang="en-US" sz="1600" b="0" i="1" u="sng" dirty="0"/>
          </a:p>
          <a:p>
            <a:pPr>
              <a:spcAft>
                <a:spcPts val="600"/>
              </a:spcAft>
            </a:pPr>
            <a:r>
              <a:rPr lang="en-US" sz="1600" b="0" dirty="0"/>
              <a:t>Supply equals Demand for a model to balance in the steady state application.  Requires Known parameters to solve for unknown parameters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600" b="0" dirty="0"/>
              <a:t>Model settings have different equations to solve for the parameters provided within a steady state application and are commonly used equations in the industry.</a:t>
            </a:r>
            <a:endParaRPr lang="en-US" b="0" dirty="0"/>
          </a:p>
          <a:p>
            <a:pPr>
              <a:spcAft>
                <a:spcPts val="600"/>
              </a:spcAft>
            </a:pPr>
            <a:r>
              <a:rPr lang="en-US" b="0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F384CE-9CDB-9259-FD4D-58A5156874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74" y="3039535"/>
            <a:ext cx="11782425" cy="3733800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E41D468-837A-B2B1-1CB7-F1EC6DD2A3F4}"/>
              </a:ext>
            </a:extLst>
          </p:cNvPr>
          <p:cNvCxnSpPr>
            <a:cxnSpLocks/>
          </p:cNvCxnSpPr>
          <p:nvPr/>
        </p:nvCxnSpPr>
        <p:spPr>
          <a:xfrm>
            <a:off x="9753600" y="3948953"/>
            <a:ext cx="215153" cy="4572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FFBB61F-BEEF-7217-5258-FE2BECDF00B3}"/>
              </a:ext>
            </a:extLst>
          </p:cNvPr>
          <p:cNvSpPr txBox="1"/>
          <p:nvPr/>
        </p:nvSpPr>
        <p:spPr>
          <a:xfrm>
            <a:off x="8529919" y="3532094"/>
            <a:ext cx="268492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SOLVED To Node Pressur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4BAA7DF-48B5-204C-AE05-BAC80B0DE767}"/>
              </a:ext>
            </a:extLst>
          </p:cNvPr>
          <p:cNvCxnSpPr>
            <a:cxnSpLocks/>
          </p:cNvCxnSpPr>
          <p:nvPr/>
        </p:nvCxnSpPr>
        <p:spPr>
          <a:xfrm flipV="1">
            <a:off x="4826811" y="4822418"/>
            <a:ext cx="107576" cy="57881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D69DD9E-97C2-F9EA-9B2E-8344C279412C}"/>
              </a:ext>
            </a:extLst>
          </p:cNvPr>
          <p:cNvSpPr txBox="1"/>
          <p:nvPr/>
        </p:nvSpPr>
        <p:spPr>
          <a:xfrm>
            <a:off x="3935506" y="5356412"/>
            <a:ext cx="2160494" cy="8309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lso solves for velocity based on the From &amp; To Node data 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09D261C-47C3-C1DC-FDB7-D6D62DDBC483}"/>
              </a:ext>
            </a:extLst>
          </p:cNvPr>
          <p:cNvCxnSpPr>
            <a:cxnSpLocks/>
          </p:cNvCxnSpPr>
          <p:nvPr/>
        </p:nvCxnSpPr>
        <p:spPr>
          <a:xfrm flipV="1">
            <a:off x="9695329" y="4906435"/>
            <a:ext cx="165847" cy="44997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1842E0C-A2B0-5D35-CA9D-15E3582EBC46}"/>
              </a:ext>
            </a:extLst>
          </p:cNvPr>
          <p:cNvSpPr txBox="1"/>
          <p:nvPr/>
        </p:nvSpPr>
        <p:spPr>
          <a:xfrm>
            <a:off x="9260882" y="5356412"/>
            <a:ext cx="80909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Know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EBD983-2571-013C-B5DF-C66FBDAF735D}"/>
              </a:ext>
            </a:extLst>
          </p:cNvPr>
          <p:cNvSpPr txBox="1"/>
          <p:nvPr/>
        </p:nvSpPr>
        <p:spPr>
          <a:xfrm>
            <a:off x="1069807" y="3260399"/>
            <a:ext cx="1640541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Known From Node Pressure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1C5242-8841-3C24-A9D4-861820F73394}"/>
              </a:ext>
            </a:extLst>
          </p:cNvPr>
          <p:cNvCxnSpPr>
            <a:cxnSpLocks/>
          </p:cNvCxnSpPr>
          <p:nvPr/>
        </p:nvCxnSpPr>
        <p:spPr>
          <a:xfrm flipH="1">
            <a:off x="1192305" y="3901426"/>
            <a:ext cx="154299" cy="40442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0767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554E0A-2176-41D4-E1E7-5620FE22B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21D83B-0566-1316-A7A9-4161E03153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Application – Basic Concep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BBFF45D-76EE-DC1F-BD91-0BCDA37C0B3C}"/>
              </a:ext>
            </a:extLst>
          </p:cNvPr>
          <p:cNvSpPr txBox="1"/>
          <p:nvPr/>
        </p:nvSpPr>
        <p:spPr>
          <a:xfrm>
            <a:off x="6470248" y="1705460"/>
            <a:ext cx="561208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ynergi</a:t>
            </a:r>
            <a:r>
              <a:rPr lang="en-US" dirty="0"/>
              <a:t> solves for downstream node pressures based on customer demand (demands rather than supplies are known flows, exception might be LNG)</a:t>
            </a:r>
          </a:p>
          <a:p>
            <a:endParaRPr lang="en-US" dirty="0"/>
          </a:p>
          <a:p>
            <a:r>
              <a:rPr lang="en-US" dirty="0"/>
              <a:t>Known material/infrastructure based on GIS</a:t>
            </a:r>
          </a:p>
          <a:p>
            <a:endParaRPr lang="en-US" dirty="0"/>
          </a:p>
          <a:p>
            <a:r>
              <a:rPr lang="en-US" dirty="0"/>
              <a:t>Set reg station pressures</a:t>
            </a:r>
          </a:p>
          <a:p>
            <a:endParaRPr lang="en-US" dirty="0"/>
          </a:p>
          <a:p>
            <a:r>
              <a:rPr lang="en-US" dirty="0"/>
              <a:t>Sum of supply point flow rates = customer demand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8DDF077-2022-3710-CCA2-10BAB8E1207E}"/>
              </a:ext>
            </a:extLst>
          </p:cNvPr>
          <p:cNvGrpSpPr/>
          <p:nvPr/>
        </p:nvGrpSpPr>
        <p:grpSpPr>
          <a:xfrm>
            <a:off x="937550" y="1076447"/>
            <a:ext cx="5312778" cy="4895799"/>
            <a:chOff x="2253569" y="1051988"/>
            <a:chExt cx="5939874" cy="537400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E91A01C-4DCC-5D56-4FFA-878FA36D17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9261" t="3366" r="15831" b="6353"/>
            <a:stretch>
              <a:fillRect/>
            </a:stretch>
          </p:blipFill>
          <p:spPr>
            <a:xfrm>
              <a:off x="2253569" y="1051988"/>
              <a:ext cx="5939874" cy="5374008"/>
            </a:xfrm>
            <a:prstGeom prst="rect">
              <a:avLst/>
            </a:prstGeom>
          </p:spPr>
        </p:pic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95C0AC4E-4983-9A69-16EE-5C97B01AE2DC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>
              <a:off x="2942781" y="2444688"/>
              <a:ext cx="880665" cy="558487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E490F02-A980-B18E-470E-754E5D54793E}"/>
                </a:ext>
              </a:extLst>
            </p:cNvPr>
            <p:cNvSpPr txBox="1"/>
            <p:nvPr/>
          </p:nvSpPr>
          <p:spPr>
            <a:xfrm>
              <a:off x="2350845" y="2157525"/>
              <a:ext cx="1183872" cy="28716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Supply Point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E7206C4-88B1-7FB3-0D62-E178CFE378F3}"/>
                </a:ext>
              </a:extLst>
            </p:cNvPr>
            <p:cNvSpPr txBox="1"/>
            <p:nvPr/>
          </p:nvSpPr>
          <p:spPr>
            <a:xfrm>
              <a:off x="5860534" y="5421848"/>
              <a:ext cx="1724687" cy="5067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olving for pressure throughout syst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138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9D409B-0A57-0CB8-C52F-D9C324ED4B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5AFF1FD7-DC15-98E2-A38F-33FB57C31AE7}"/>
              </a:ext>
            </a:extLst>
          </p:cNvPr>
          <p:cNvGrpSpPr/>
          <p:nvPr/>
        </p:nvGrpSpPr>
        <p:grpSpPr>
          <a:xfrm>
            <a:off x="8206450" y="1138496"/>
            <a:ext cx="3833149" cy="5126265"/>
            <a:chOff x="8206450" y="1138497"/>
            <a:chExt cx="3833149" cy="512626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3293B10-9657-9BCE-5F4C-362422A200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15543" r="2866"/>
            <a:stretch>
              <a:fillRect/>
            </a:stretch>
          </p:blipFill>
          <p:spPr>
            <a:xfrm>
              <a:off x="8206450" y="1138497"/>
              <a:ext cx="3833149" cy="5126265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104B8E2-7636-52F7-EDAF-825D89FD8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9600" y="1150071"/>
              <a:ext cx="1571066" cy="115329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EC8415E-0AA6-B6F3-7FBB-B3D334DA5E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707886"/>
          </a:xfrm>
        </p:spPr>
        <p:txBody>
          <a:bodyPr/>
          <a:lstStyle/>
          <a:p>
            <a:r>
              <a:rPr lang="en-US" dirty="0"/>
              <a:t>Model Application – Basic Concept </a:t>
            </a:r>
            <a:br>
              <a:rPr lang="en-US" dirty="0"/>
            </a:br>
            <a:r>
              <a:rPr lang="en-US" sz="1800" dirty="0"/>
              <a:t>Visual Representation for Analysis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C79BB14-E9FF-DE5C-96E2-428729CA02E5}"/>
              </a:ext>
            </a:extLst>
          </p:cNvPr>
          <p:cNvGrpSpPr/>
          <p:nvPr/>
        </p:nvGrpSpPr>
        <p:grpSpPr>
          <a:xfrm>
            <a:off x="44166" y="1138496"/>
            <a:ext cx="4135400" cy="5136336"/>
            <a:chOff x="853289" y="1138497"/>
            <a:chExt cx="4135400" cy="513633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2DE432F-4261-9EBA-E825-8E3A04D43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1905"/>
            <a:stretch>
              <a:fillRect/>
            </a:stretch>
          </p:blipFill>
          <p:spPr>
            <a:xfrm>
              <a:off x="853289" y="1138497"/>
              <a:ext cx="4135400" cy="513633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4BDACBE-D8AF-64E3-CE48-ADA571A1F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r="28324"/>
            <a:stretch>
              <a:fillRect/>
            </a:stretch>
          </p:blipFill>
          <p:spPr>
            <a:xfrm>
              <a:off x="864863" y="1150072"/>
              <a:ext cx="1196332" cy="1523681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77A50E-C4A2-640A-09E8-859EA66AA9C1}"/>
              </a:ext>
            </a:extLst>
          </p:cNvPr>
          <p:cNvGrpSpPr/>
          <p:nvPr/>
        </p:nvGrpSpPr>
        <p:grpSpPr>
          <a:xfrm>
            <a:off x="4264999" y="1138495"/>
            <a:ext cx="3833150" cy="5126265"/>
            <a:chOff x="5785412" y="1138497"/>
            <a:chExt cx="3833150" cy="512626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295AD7C-1D3E-017D-0AD8-F64C38F8E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15458"/>
            <a:stretch>
              <a:fillRect/>
            </a:stretch>
          </p:blipFill>
          <p:spPr>
            <a:xfrm>
              <a:off x="5785412" y="1138497"/>
              <a:ext cx="3833150" cy="512626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D998609-FE76-915E-C29D-AF4A9EEF7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08562" y="1161647"/>
              <a:ext cx="1221400" cy="1894071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8D1025E-7E2A-AFB7-D600-E0F5F1357428}"/>
              </a:ext>
            </a:extLst>
          </p:cNvPr>
          <p:cNvGrpSpPr/>
          <p:nvPr/>
        </p:nvGrpSpPr>
        <p:grpSpPr>
          <a:xfrm>
            <a:off x="9954228" y="2145186"/>
            <a:ext cx="1441557" cy="1710329"/>
            <a:chOff x="9954228" y="2145186"/>
            <a:chExt cx="1441557" cy="171032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285A6A-398C-DE27-7E79-F4E42C57AD19}"/>
                </a:ext>
              </a:extLst>
            </p:cNvPr>
            <p:cNvSpPr txBox="1"/>
            <p:nvPr/>
          </p:nvSpPr>
          <p:spPr>
            <a:xfrm>
              <a:off x="9954228" y="3547738"/>
              <a:ext cx="14415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Bottlenecks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C0E3A1D-A1EB-D564-FD69-CE117AD59576}"/>
                </a:ext>
              </a:extLst>
            </p:cNvPr>
            <p:cNvSpPr/>
            <p:nvPr/>
          </p:nvSpPr>
          <p:spPr bwMode="auto">
            <a:xfrm rot="14557520">
              <a:off x="10484495" y="1845812"/>
              <a:ext cx="549819" cy="1148568"/>
            </a:xfrm>
            <a:prstGeom prst="ellipse">
              <a:avLst/>
            </a:prstGeom>
            <a:noFill/>
            <a:ln w="19050" cap="flat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09598D9-F9D1-C593-EE3D-FEDBDFD8DC8F}"/>
                </a:ext>
              </a:extLst>
            </p:cNvPr>
            <p:cNvCxnSpPr>
              <a:cxnSpLocks/>
              <a:stCxn id="9" idx="0"/>
              <a:endCxn id="26" idx="1"/>
            </p:cNvCxnSpPr>
            <p:nvPr/>
          </p:nvCxnSpPr>
          <p:spPr bwMode="auto">
            <a:xfrm flipH="1" flipV="1">
              <a:off x="10488180" y="2779437"/>
              <a:ext cx="186827" cy="76830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82601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System Design Go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609600" y="985215"/>
            <a:ext cx="10972800" cy="5170646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US" sz="1800" b="1" i="1" dirty="0"/>
              <a:t>Safety &amp; Reliability </a:t>
            </a:r>
            <a:r>
              <a:rPr lang="en-US" sz="1800" dirty="0"/>
              <a:t>– </a:t>
            </a:r>
            <a:r>
              <a:rPr lang="en-US" sz="1800" b="0" dirty="0"/>
              <a:t>Providing safe and reliable service at the lowest cost to the ratepayers.</a:t>
            </a:r>
            <a:endParaRPr lang="en-US" sz="1800" dirty="0"/>
          </a:p>
          <a:p>
            <a:r>
              <a:rPr lang="en-US" sz="1800" b="1" i="1" dirty="0"/>
              <a:t>System Awareness </a:t>
            </a:r>
            <a:r>
              <a:rPr lang="en-US" sz="1800" dirty="0"/>
              <a:t>– </a:t>
            </a:r>
            <a:r>
              <a:rPr lang="en-US" sz="1800" b="0" dirty="0"/>
              <a:t>Understanding distribution system operations, design parameters, and system constraints.</a:t>
            </a:r>
            <a:endParaRPr lang="en-US" sz="1800" dirty="0"/>
          </a:p>
          <a:p>
            <a:r>
              <a:rPr lang="en-US" sz="1800" b="1" i="1" dirty="0"/>
              <a:t>Risk Management &amp; Identification </a:t>
            </a:r>
            <a:r>
              <a:rPr lang="en-US" sz="1800" b="0" i="1" dirty="0"/>
              <a:t>– </a:t>
            </a:r>
            <a:r>
              <a:rPr lang="en-US" sz="1800" b="0" dirty="0"/>
              <a:t>Fundamental Business Model.</a:t>
            </a:r>
            <a:endParaRPr lang="en-US" sz="1800" b="0" i="1" dirty="0"/>
          </a:p>
          <a:p>
            <a:r>
              <a:rPr lang="en-US" sz="1800" b="0" i="1" dirty="0"/>
              <a:t>	Operational Risk</a:t>
            </a:r>
          </a:p>
          <a:p>
            <a:r>
              <a:rPr lang="en-US" sz="1800" b="0" i="1" dirty="0"/>
              <a:t>	Safety Risk </a:t>
            </a:r>
            <a:endParaRPr lang="en-US" sz="1800" b="0" i="1" dirty="0">
              <a:sym typeface="Wingdings" panose="05000000000000000000" pitchFamily="2" charset="2"/>
            </a:endParaRPr>
          </a:p>
          <a:p>
            <a:r>
              <a:rPr lang="en-US" sz="1800" b="0" i="1" dirty="0">
                <a:sym typeface="Wingdings" panose="05000000000000000000" pitchFamily="2" charset="2"/>
              </a:rPr>
              <a:t>	</a:t>
            </a:r>
            <a:r>
              <a:rPr lang="en-US" sz="1800" b="0" i="1" dirty="0"/>
              <a:t>Customer Risk </a:t>
            </a:r>
            <a:endParaRPr lang="en-US" sz="1800" b="0" i="1" dirty="0">
              <a:sym typeface="Wingdings" panose="05000000000000000000" pitchFamily="2" charset="2"/>
            </a:endParaRPr>
          </a:p>
          <a:p>
            <a:r>
              <a:rPr lang="en-US" sz="1800" b="0" i="1" dirty="0">
                <a:sym typeface="Wingdings" panose="05000000000000000000" pitchFamily="2" charset="2"/>
              </a:rPr>
              <a:t>	</a:t>
            </a:r>
            <a:r>
              <a:rPr lang="en-US" sz="1800" b="0" i="1" dirty="0"/>
              <a:t>Finance/Investment Risk </a:t>
            </a:r>
            <a:endParaRPr lang="en-US" sz="1800" b="0" i="1" dirty="0">
              <a:sym typeface="Wingdings" panose="05000000000000000000" pitchFamily="2" charset="2"/>
            </a:endParaRPr>
          </a:p>
          <a:p>
            <a:r>
              <a:rPr lang="en-US" sz="1800" b="0" i="1" dirty="0">
                <a:sym typeface="Wingdings" panose="05000000000000000000" pitchFamily="2" charset="2"/>
              </a:rPr>
              <a:t>	</a:t>
            </a:r>
            <a:r>
              <a:rPr lang="en-US" sz="1800" b="0" i="1" dirty="0"/>
              <a:t>Reputational Risk</a:t>
            </a:r>
            <a:endParaRPr lang="en-US" sz="1800" dirty="0"/>
          </a:p>
          <a:p>
            <a:r>
              <a:rPr lang="en-US" sz="1800" b="1" i="1" dirty="0"/>
              <a:t>Building Confidence</a:t>
            </a:r>
            <a:r>
              <a:rPr lang="en-US" sz="1800" b="1" dirty="0"/>
              <a:t> </a:t>
            </a:r>
            <a:r>
              <a:rPr lang="en-US" sz="1800" dirty="0"/>
              <a:t>– </a:t>
            </a:r>
            <a:r>
              <a:rPr lang="en-US" sz="1800" b="0" dirty="0"/>
              <a:t>Improving efficiency, decision making, communication &amp; knowledge sharing across the gas business, and understanding the process</a:t>
            </a:r>
            <a:endParaRPr lang="en-US" sz="1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355404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8" y="934860"/>
            <a:ext cx="114715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There is a new residential development for 32 homes requesting gas. </a:t>
            </a:r>
          </a:p>
          <a:p>
            <a:pPr>
              <a:spcAft>
                <a:spcPts val="600"/>
              </a:spcAft>
            </a:pPr>
            <a:r>
              <a:rPr lang="en-US" dirty="0"/>
              <a:t>Total requested load: 8 </a:t>
            </a:r>
            <a:r>
              <a:rPr lang="en-US" dirty="0" err="1"/>
              <a:t>dth</a:t>
            </a:r>
            <a:r>
              <a:rPr lang="en-US" dirty="0"/>
              <a:t>/</a:t>
            </a:r>
            <a:r>
              <a:rPr lang="en-US" dirty="0" err="1"/>
              <a:t>hr</a:t>
            </a:r>
            <a:r>
              <a:rPr lang="en-US" dirty="0"/>
              <a:t> (.25 per home), load diversifies to 5 </a:t>
            </a:r>
            <a:r>
              <a:rPr lang="en-US" dirty="0" err="1"/>
              <a:t>dth</a:t>
            </a:r>
            <a:r>
              <a:rPr lang="en-US" dirty="0"/>
              <a:t>/</a:t>
            </a:r>
            <a:r>
              <a:rPr lang="en-US" dirty="0" err="1"/>
              <a:t>hr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i="1" dirty="0"/>
              <a:t>What is the most cost effective way to serve this customer &amp; maintain system integrity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A7123A-E20A-E184-7CC1-0D9980758AD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2563"/>
          <a:stretch>
            <a:fillRect/>
          </a:stretch>
        </p:blipFill>
        <p:spPr>
          <a:xfrm>
            <a:off x="2560092" y="2238811"/>
            <a:ext cx="7071815" cy="4023093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8A8A86A-8511-DD66-C9E8-B205C30DD152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8091890" y="3918226"/>
            <a:ext cx="62144" cy="936370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C83CA11-0C64-B0CA-4474-78031EF715A5}"/>
              </a:ext>
            </a:extLst>
          </p:cNvPr>
          <p:cNvSpPr txBox="1"/>
          <p:nvPr/>
        </p:nvSpPr>
        <p:spPr>
          <a:xfrm>
            <a:off x="7089464" y="3456561"/>
            <a:ext cx="200485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New Customer Location</a:t>
            </a:r>
          </a:p>
          <a:p>
            <a:pPr algn="ctr"/>
            <a:r>
              <a:rPr lang="en-US" sz="1200" dirty="0"/>
              <a:t>Existing main: 2” 60 </a:t>
            </a:r>
            <a:r>
              <a:rPr lang="en-US" sz="1200" dirty="0" err="1"/>
              <a:t>psig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326459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8" y="1720840"/>
            <a:ext cx="444059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Existing pressure:</a:t>
            </a:r>
            <a:r>
              <a:rPr lang="en-US" dirty="0"/>
              <a:t> 35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u="sng" dirty="0"/>
              <a:t>Pressure with load:</a:t>
            </a:r>
            <a:r>
              <a:rPr lang="en-US" dirty="0"/>
              <a:t> 17.4 </a:t>
            </a:r>
            <a:r>
              <a:rPr lang="en-US" dirty="0" err="1"/>
              <a:t>psig</a:t>
            </a:r>
            <a:endParaRPr lang="en-US" dirty="0"/>
          </a:p>
          <a:p>
            <a:endParaRPr lang="en-US" dirty="0"/>
          </a:p>
          <a:p>
            <a:r>
              <a:rPr lang="en-US" b="1" dirty="0">
                <a:solidFill>
                  <a:srgbClr val="FF0000"/>
                </a:solidFill>
              </a:rPr>
              <a:t>Not acceptable! &gt; 50% change</a:t>
            </a:r>
          </a:p>
          <a:p>
            <a:endParaRPr lang="en-US" b="1" dirty="0">
              <a:solidFill>
                <a:srgbClr val="FF0000"/>
              </a:solidFill>
            </a:endParaRPr>
          </a:p>
          <a:p>
            <a:r>
              <a:rPr lang="en-US" b="1" dirty="0">
                <a:solidFill>
                  <a:srgbClr val="FF0000"/>
                </a:solidFill>
              </a:rPr>
              <a:t>The 2” main serving the customer location is undersized</a:t>
            </a:r>
          </a:p>
          <a:p>
            <a:endParaRPr lang="en-US" dirty="0"/>
          </a:p>
          <a:p>
            <a:r>
              <a:rPr lang="en-US" b="1" dirty="0"/>
              <a:t>Two key ways to reinforce a system</a:t>
            </a:r>
          </a:p>
          <a:p>
            <a:pPr marL="342900" indent="-342900">
              <a:buAutoNum type="arabicParenR"/>
            </a:pPr>
            <a:r>
              <a:rPr lang="en-US" dirty="0"/>
              <a:t>Increase pipe size</a:t>
            </a:r>
          </a:p>
          <a:p>
            <a:pPr marL="342900" indent="-342900">
              <a:buAutoNum type="arabicParenR"/>
            </a:pPr>
            <a:r>
              <a:rPr lang="en-US" dirty="0"/>
              <a:t>Integrate more supply points</a:t>
            </a:r>
          </a:p>
          <a:p>
            <a:pPr marL="342900" indent="-342900">
              <a:buAutoNum type="arabicParenR"/>
            </a:pP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AC0AC1-F78D-84EA-FDFC-63B2ADBBF0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0827"/>
          <a:stretch>
            <a:fillRect/>
          </a:stretch>
        </p:blipFill>
        <p:spPr>
          <a:xfrm>
            <a:off x="4681780" y="1367686"/>
            <a:ext cx="7425117" cy="4232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364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8" y="1257343"/>
            <a:ext cx="358507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ipe Diameter View:</a:t>
            </a:r>
          </a:p>
          <a:p>
            <a:r>
              <a:rPr lang="en-US" b="1" dirty="0"/>
              <a:t>Green – 6”</a:t>
            </a:r>
          </a:p>
          <a:p>
            <a:r>
              <a:rPr lang="en-US" b="1" dirty="0"/>
              <a:t>Yellow – 4”</a:t>
            </a:r>
          </a:p>
          <a:p>
            <a:r>
              <a:rPr lang="en-US" b="1" dirty="0"/>
              <a:t>Red – 2”</a:t>
            </a:r>
          </a:p>
          <a:p>
            <a:endParaRPr lang="en-US" dirty="0"/>
          </a:p>
          <a:p>
            <a:r>
              <a:rPr lang="en-US" dirty="0"/>
              <a:t>Looping Option?</a:t>
            </a:r>
          </a:p>
          <a:p>
            <a:endParaRPr lang="en-US" dirty="0"/>
          </a:p>
          <a:p>
            <a:r>
              <a:rPr lang="en-US" dirty="0"/>
              <a:t>Relay Option?</a:t>
            </a:r>
          </a:p>
          <a:p>
            <a:endParaRPr lang="en-US" dirty="0"/>
          </a:p>
          <a:p>
            <a:r>
              <a:rPr lang="en-US" dirty="0"/>
              <a:t>Compare lengths &amp; size</a:t>
            </a:r>
          </a:p>
          <a:p>
            <a:endParaRPr lang="en-US" dirty="0"/>
          </a:p>
          <a:p>
            <a:r>
              <a:rPr lang="en-US" dirty="0"/>
              <a:t>Option 0: Electrification (NPA)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79CD77-8E57-EB99-4C7D-B1A2B70563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456" r="12857"/>
          <a:stretch>
            <a:fillRect/>
          </a:stretch>
        </p:blipFill>
        <p:spPr>
          <a:xfrm>
            <a:off x="4564762" y="1257343"/>
            <a:ext cx="7507633" cy="4290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104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8" y="1257343"/>
            <a:ext cx="358507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tion 1:</a:t>
            </a:r>
          </a:p>
          <a:p>
            <a:r>
              <a:rPr lang="en-US" dirty="0"/>
              <a:t>Relaying 2” with 4”</a:t>
            </a:r>
          </a:p>
          <a:p>
            <a:endParaRPr lang="en-US" dirty="0"/>
          </a:p>
          <a:p>
            <a:r>
              <a:rPr lang="en-US" dirty="0"/>
              <a:t>$$$</a:t>
            </a:r>
          </a:p>
          <a:p>
            <a:endParaRPr lang="en-US" dirty="0"/>
          </a:p>
          <a:p>
            <a:r>
              <a:rPr lang="en-US" b="1" dirty="0"/>
              <a:t>RECAP</a:t>
            </a:r>
          </a:p>
          <a:p>
            <a:r>
              <a:rPr lang="en-US" dirty="0"/>
              <a:t>Before: 35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No </a:t>
            </a:r>
            <a:r>
              <a:rPr lang="en-US" dirty="0" err="1"/>
              <a:t>reinf</a:t>
            </a:r>
            <a:r>
              <a:rPr lang="en-US" dirty="0"/>
              <a:t>: 17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w/ 4” relay: 36.4 </a:t>
            </a:r>
            <a:r>
              <a:rPr lang="en-US" dirty="0" err="1"/>
              <a:t>psig</a:t>
            </a:r>
            <a:endParaRPr lang="en-US" dirty="0"/>
          </a:p>
          <a:p>
            <a:endParaRPr lang="en-US" dirty="0"/>
          </a:p>
          <a:p>
            <a:r>
              <a:rPr lang="en-US" dirty="0"/>
              <a:t>Acceptable (better result)</a:t>
            </a:r>
          </a:p>
          <a:p>
            <a:endParaRPr lang="en-US" dirty="0"/>
          </a:p>
          <a:p>
            <a:r>
              <a:rPr lang="en-US" b="1" dirty="0"/>
              <a:t>Green – 6”</a:t>
            </a:r>
          </a:p>
          <a:p>
            <a:r>
              <a:rPr lang="en-US" b="1" dirty="0"/>
              <a:t>Yellow – 4”</a:t>
            </a:r>
          </a:p>
          <a:p>
            <a:r>
              <a:rPr lang="en-US" b="1" dirty="0"/>
              <a:t>Red – 2”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7CAB64-9A9F-C074-5B01-331A6F46BF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1332" y="1257343"/>
            <a:ext cx="7598600" cy="4606440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0228D13-58DC-7361-18AB-469C900D9AB3}"/>
              </a:ext>
            </a:extLst>
          </p:cNvPr>
          <p:cNvSpPr/>
          <p:nvPr/>
        </p:nvSpPr>
        <p:spPr>
          <a:xfrm>
            <a:off x="7145525" y="3524139"/>
            <a:ext cx="2085585" cy="1136768"/>
          </a:xfrm>
          <a:custGeom>
            <a:avLst/>
            <a:gdLst>
              <a:gd name="connsiteX0" fmla="*/ 2519082 w 2610505"/>
              <a:gd name="connsiteY0" fmla="*/ 524435 h 1376082"/>
              <a:gd name="connsiteX1" fmla="*/ 2415988 w 2610505"/>
              <a:gd name="connsiteY1" fmla="*/ 582706 h 1376082"/>
              <a:gd name="connsiteX2" fmla="*/ 2227730 w 2610505"/>
              <a:gd name="connsiteY2" fmla="*/ 721659 h 1376082"/>
              <a:gd name="connsiteX3" fmla="*/ 2061882 w 2610505"/>
              <a:gd name="connsiteY3" fmla="*/ 869576 h 1376082"/>
              <a:gd name="connsiteX4" fmla="*/ 1958788 w 2610505"/>
              <a:gd name="connsiteY4" fmla="*/ 941294 h 1376082"/>
              <a:gd name="connsiteX5" fmla="*/ 1896035 w 2610505"/>
              <a:gd name="connsiteY5" fmla="*/ 977153 h 1376082"/>
              <a:gd name="connsiteX6" fmla="*/ 1855694 w 2610505"/>
              <a:gd name="connsiteY6" fmla="*/ 995082 h 1376082"/>
              <a:gd name="connsiteX7" fmla="*/ 1824318 w 2610505"/>
              <a:gd name="connsiteY7" fmla="*/ 1021976 h 1376082"/>
              <a:gd name="connsiteX8" fmla="*/ 1752600 w 2610505"/>
              <a:gd name="connsiteY8" fmla="*/ 1062318 h 1376082"/>
              <a:gd name="connsiteX9" fmla="*/ 1721224 w 2610505"/>
              <a:gd name="connsiteY9" fmla="*/ 1093694 h 1376082"/>
              <a:gd name="connsiteX10" fmla="*/ 1653988 w 2610505"/>
              <a:gd name="connsiteY10" fmla="*/ 1116106 h 1376082"/>
              <a:gd name="connsiteX11" fmla="*/ 1604682 w 2610505"/>
              <a:gd name="connsiteY11" fmla="*/ 1138518 h 1376082"/>
              <a:gd name="connsiteX12" fmla="*/ 1506071 w 2610505"/>
              <a:gd name="connsiteY12" fmla="*/ 1183341 h 1376082"/>
              <a:gd name="connsiteX13" fmla="*/ 1353671 w 2610505"/>
              <a:gd name="connsiteY13" fmla="*/ 1259541 h 1376082"/>
              <a:gd name="connsiteX14" fmla="*/ 1286435 w 2610505"/>
              <a:gd name="connsiteY14" fmla="*/ 1295400 h 1376082"/>
              <a:gd name="connsiteX15" fmla="*/ 1044388 w 2610505"/>
              <a:gd name="connsiteY15" fmla="*/ 1367118 h 1376082"/>
              <a:gd name="connsiteX16" fmla="*/ 945777 w 2610505"/>
              <a:gd name="connsiteY16" fmla="*/ 1376082 h 1376082"/>
              <a:gd name="connsiteX17" fmla="*/ 735106 w 2610505"/>
              <a:gd name="connsiteY17" fmla="*/ 1362635 h 1376082"/>
              <a:gd name="connsiteX18" fmla="*/ 699247 w 2610505"/>
              <a:gd name="connsiteY18" fmla="*/ 1331259 h 1376082"/>
              <a:gd name="connsiteX19" fmla="*/ 645459 w 2610505"/>
              <a:gd name="connsiteY19" fmla="*/ 1308847 h 1376082"/>
              <a:gd name="connsiteX20" fmla="*/ 614082 w 2610505"/>
              <a:gd name="connsiteY20" fmla="*/ 1277471 h 1376082"/>
              <a:gd name="connsiteX21" fmla="*/ 533400 w 2610505"/>
              <a:gd name="connsiteY21" fmla="*/ 1219200 h 1376082"/>
              <a:gd name="connsiteX22" fmla="*/ 497541 w 2610505"/>
              <a:gd name="connsiteY22" fmla="*/ 1192306 h 1376082"/>
              <a:gd name="connsiteX23" fmla="*/ 448235 w 2610505"/>
              <a:gd name="connsiteY23" fmla="*/ 1165412 h 1376082"/>
              <a:gd name="connsiteX24" fmla="*/ 416859 w 2610505"/>
              <a:gd name="connsiteY24" fmla="*/ 1134035 h 1376082"/>
              <a:gd name="connsiteX25" fmla="*/ 313765 w 2610505"/>
              <a:gd name="connsiteY25" fmla="*/ 1071282 h 1376082"/>
              <a:gd name="connsiteX26" fmla="*/ 277906 w 2610505"/>
              <a:gd name="connsiteY26" fmla="*/ 1048871 h 1376082"/>
              <a:gd name="connsiteX27" fmla="*/ 242047 w 2610505"/>
              <a:gd name="connsiteY27" fmla="*/ 1039906 h 1376082"/>
              <a:gd name="connsiteX28" fmla="*/ 170330 w 2610505"/>
              <a:gd name="connsiteY28" fmla="*/ 999565 h 1376082"/>
              <a:gd name="connsiteX29" fmla="*/ 103094 w 2610505"/>
              <a:gd name="connsiteY29" fmla="*/ 963706 h 1376082"/>
              <a:gd name="connsiteX30" fmla="*/ 35859 w 2610505"/>
              <a:gd name="connsiteY30" fmla="*/ 891988 h 1376082"/>
              <a:gd name="connsiteX31" fmla="*/ 17930 w 2610505"/>
              <a:gd name="connsiteY31" fmla="*/ 851647 h 1376082"/>
              <a:gd name="connsiteX32" fmla="*/ 0 w 2610505"/>
              <a:gd name="connsiteY32" fmla="*/ 815788 h 1376082"/>
              <a:gd name="connsiteX33" fmla="*/ 22412 w 2610505"/>
              <a:gd name="connsiteY33" fmla="*/ 735106 h 1376082"/>
              <a:gd name="connsiteX34" fmla="*/ 58271 w 2610505"/>
              <a:gd name="connsiteY34" fmla="*/ 703729 h 1376082"/>
              <a:gd name="connsiteX35" fmla="*/ 89647 w 2610505"/>
              <a:gd name="connsiteY35" fmla="*/ 672353 h 1376082"/>
              <a:gd name="connsiteX36" fmla="*/ 295835 w 2610505"/>
              <a:gd name="connsiteY36" fmla="*/ 605118 h 1376082"/>
              <a:gd name="connsiteX37" fmla="*/ 416859 w 2610505"/>
              <a:gd name="connsiteY37" fmla="*/ 587188 h 1376082"/>
              <a:gd name="connsiteX38" fmla="*/ 555812 w 2610505"/>
              <a:gd name="connsiteY38" fmla="*/ 546847 h 1376082"/>
              <a:gd name="connsiteX39" fmla="*/ 730624 w 2610505"/>
              <a:gd name="connsiteY39" fmla="*/ 524435 h 1376082"/>
              <a:gd name="connsiteX40" fmla="*/ 909918 w 2610505"/>
              <a:gd name="connsiteY40" fmla="*/ 479612 h 1376082"/>
              <a:gd name="connsiteX41" fmla="*/ 1075765 w 2610505"/>
              <a:gd name="connsiteY41" fmla="*/ 430306 h 1376082"/>
              <a:gd name="connsiteX42" fmla="*/ 1349188 w 2610505"/>
              <a:gd name="connsiteY42" fmla="*/ 331694 h 1376082"/>
              <a:gd name="connsiteX43" fmla="*/ 1532965 w 2610505"/>
              <a:gd name="connsiteY43" fmla="*/ 233082 h 1376082"/>
              <a:gd name="connsiteX44" fmla="*/ 1645024 w 2610505"/>
              <a:gd name="connsiteY44" fmla="*/ 165847 h 1376082"/>
              <a:gd name="connsiteX45" fmla="*/ 1698812 w 2610505"/>
              <a:gd name="connsiteY45" fmla="*/ 125506 h 1376082"/>
              <a:gd name="connsiteX46" fmla="*/ 1815353 w 2610505"/>
              <a:gd name="connsiteY46" fmla="*/ 49306 h 1376082"/>
              <a:gd name="connsiteX47" fmla="*/ 1873624 w 2610505"/>
              <a:gd name="connsiteY47" fmla="*/ 26894 h 1376082"/>
              <a:gd name="connsiteX48" fmla="*/ 1954306 w 2610505"/>
              <a:gd name="connsiteY48" fmla="*/ 22412 h 1376082"/>
              <a:gd name="connsiteX49" fmla="*/ 2079812 w 2610505"/>
              <a:gd name="connsiteY49" fmla="*/ 0 h 1376082"/>
              <a:gd name="connsiteX50" fmla="*/ 2115671 w 2610505"/>
              <a:gd name="connsiteY50" fmla="*/ 8965 h 1376082"/>
              <a:gd name="connsiteX51" fmla="*/ 2160494 w 2610505"/>
              <a:gd name="connsiteY51" fmla="*/ 13447 h 1376082"/>
              <a:gd name="connsiteX52" fmla="*/ 2393577 w 2610505"/>
              <a:gd name="connsiteY52" fmla="*/ 26894 h 1376082"/>
              <a:gd name="connsiteX53" fmla="*/ 2429435 w 2610505"/>
              <a:gd name="connsiteY53" fmla="*/ 40341 h 1376082"/>
              <a:gd name="connsiteX54" fmla="*/ 2456330 w 2610505"/>
              <a:gd name="connsiteY54" fmla="*/ 67235 h 1376082"/>
              <a:gd name="connsiteX55" fmla="*/ 2505635 w 2610505"/>
              <a:gd name="connsiteY55" fmla="*/ 121023 h 1376082"/>
              <a:gd name="connsiteX56" fmla="*/ 2550459 w 2610505"/>
              <a:gd name="connsiteY56" fmla="*/ 188259 h 1376082"/>
              <a:gd name="connsiteX57" fmla="*/ 2563906 w 2610505"/>
              <a:gd name="connsiteY57" fmla="*/ 197223 h 1376082"/>
              <a:gd name="connsiteX58" fmla="*/ 2577353 w 2610505"/>
              <a:gd name="connsiteY58" fmla="*/ 224118 h 1376082"/>
              <a:gd name="connsiteX59" fmla="*/ 2581835 w 2610505"/>
              <a:gd name="connsiteY59" fmla="*/ 242047 h 1376082"/>
              <a:gd name="connsiteX60" fmla="*/ 2595282 w 2610505"/>
              <a:gd name="connsiteY60" fmla="*/ 264459 h 1376082"/>
              <a:gd name="connsiteX61" fmla="*/ 2604247 w 2610505"/>
              <a:gd name="connsiteY61" fmla="*/ 286871 h 1376082"/>
              <a:gd name="connsiteX62" fmla="*/ 2599765 w 2610505"/>
              <a:gd name="connsiteY62" fmla="*/ 403412 h 1376082"/>
              <a:gd name="connsiteX63" fmla="*/ 2586318 w 2610505"/>
              <a:gd name="connsiteY63" fmla="*/ 421341 h 1376082"/>
              <a:gd name="connsiteX64" fmla="*/ 2581835 w 2610505"/>
              <a:gd name="connsiteY64" fmla="*/ 434788 h 1376082"/>
              <a:gd name="connsiteX65" fmla="*/ 2554941 w 2610505"/>
              <a:gd name="connsiteY65" fmla="*/ 448235 h 1376082"/>
              <a:gd name="connsiteX66" fmla="*/ 2532530 w 2610505"/>
              <a:gd name="connsiteY66" fmla="*/ 475129 h 1376082"/>
              <a:gd name="connsiteX67" fmla="*/ 2519082 w 2610505"/>
              <a:gd name="connsiteY67" fmla="*/ 524435 h 137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610505" h="1376082">
                <a:moveTo>
                  <a:pt x="2519082" y="524435"/>
                </a:moveTo>
                <a:cubicBezTo>
                  <a:pt x="2499658" y="542364"/>
                  <a:pt x="2492896" y="523546"/>
                  <a:pt x="2415988" y="582706"/>
                </a:cubicBezTo>
                <a:cubicBezTo>
                  <a:pt x="2277958" y="688883"/>
                  <a:pt x="2411065" y="565154"/>
                  <a:pt x="2227730" y="721659"/>
                </a:cubicBezTo>
                <a:cubicBezTo>
                  <a:pt x="2111641" y="820759"/>
                  <a:pt x="2210246" y="766366"/>
                  <a:pt x="2061882" y="869576"/>
                </a:cubicBezTo>
                <a:cubicBezTo>
                  <a:pt x="2027517" y="893482"/>
                  <a:pt x="1995134" y="920525"/>
                  <a:pt x="1958788" y="941294"/>
                </a:cubicBezTo>
                <a:cubicBezTo>
                  <a:pt x="1937870" y="953247"/>
                  <a:pt x="1917395" y="966009"/>
                  <a:pt x="1896035" y="977153"/>
                </a:cubicBezTo>
                <a:cubicBezTo>
                  <a:pt x="1882989" y="983960"/>
                  <a:pt x="1868173" y="987283"/>
                  <a:pt x="1855694" y="995082"/>
                </a:cubicBezTo>
                <a:cubicBezTo>
                  <a:pt x="1844013" y="1002383"/>
                  <a:pt x="1835779" y="1014335"/>
                  <a:pt x="1824318" y="1021976"/>
                </a:cubicBezTo>
                <a:cubicBezTo>
                  <a:pt x="1773993" y="1055527"/>
                  <a:pt x="1801752" y="1022996"/>
                  <a:pt x="1752600" y="1062318"/>
                </a:cubicBezTo>
                <a:cubicBezTo>
                  <a:pt x="1741050" y="1071558"/>
                  <a:pt x="1733260" y="1085097"/>
                  <a:pt x="1721224" y="1093694"/>
                </a:cubicBezTo>
                <a:cubicBezTo>
                  <a:pt x="1698969" y="1109590"/>
                  <a:pt x="1678747" y="1106984"/>
                  <a:pt x="1653988" y="1116106"/>
                </a:cubicBezTo>
                <a:cubicBezTo>
                  <a:pt x="1637048" y="1122347"/>
                  <a:pt x="1620276" y="1129421"/>
                  <a:pt x="1604682" y="1138518"/>
                </a:cubicBezTo>
                <a:cubicBezTo>
                  <a:pt x="1519274" y="1188339"/>
                  <a:pt x="1579063" y="1175231"/>
                  <a:pt x="1506071" y="1183341"/>
                </a:cubicBezTo>
                <a:lnTo>
                  <a:pt x="1353671" y="1259541"/>
                </a:lnTo>
                <a:cubicBezTo>
                  <a:pt x="1331045" y="1271085"/>
                  <a:pt x="1310306" y="1286720"/>
                  <a:pt x="1286435" y="1295400"/>
                </a:cubicBezTo>
                <a:cubicBezTo>
                  <a:pt x="1214936" y="1321400"/>
                  <a:pt x="1118291" y="1360400"/>
                  <a:pt x="1044388" y="1367118"/>
                </a:cubicBezTo>
                <a:lnTo>
                  <a:pt x="945777" y="1376082"/>
                </a:lnTo>
                <a:cubicBezTo>
                  <a:pt x="875553" y="1371600"/>
                  <a:pt x="804338" y="1375222"/>
                  <a:pt x="735106" y="1362635"/>
                </a:cubicBezTo>
                <a:cubicBezTo>
                  <a:pt x="719480" y="1359794"/>
                  <a:pt x="712866" y="1339431"/>
                  <a:pt x="699247" y="1331259"/>
                </a:cubicBezTo>
                <a:cubicBezTo>
                  <a:pt x="682591" y="1321266"/>
                  <a:pt x="663388" y="1316318"/>
                  <a:pt x="645459" y="1308847"/>
                </a:cubicBezTo>
                <a:cubicBezTo>
                  <a:pt x="635000" y="1298388"/>
                  <a:pt x="625213" y="1287211"/>
                  <a:pt x="614082" y="1277471"/>
                </a:cubicBezTo>
                <a:cubicBezTo>
                  <a:pt x="578179" y="1246056"/>
                  <a:pt x="571604" y="1246167"/>
                  <a:pt x="533400" y="1219200"/>
                </a:cubicBezTo>
                <a:cubicBezTo>
                  <a:pt x="521194" y="1210584"/>
                  <a:pt x="510174" y="1200284"/>
                  <a:pt x="497541" y="1192306"/>
                </a:cubicBezTo>
                <a:cubicBezTo>
                  <a:pt x="481712" y="1182309"/>
                  <a:pt x="463412" y="1176373"/>
                  <a:pt x="448235" y="1165412"/>
                </a:cubicBezTo>
                <a:cubicBezTo>
                  <a:pt x="436244" y="1156752"/>
                  <a:pt x="428468" y="1143200"/>
                  <a:pt x="416859" y="1134035"/>
                </a:cubicBezTo>
                <a:cubicBezTo>
                  <a:pt x="375467" y="1101356"/>
                  <a:pt x="357686" y="1096709"/>
                  <a:pt x="313765" y="1071282"/>
                </a:cubicBezTo>
                <a:cubicBezTo>
                  <a:pt x="301566" y="1064220"/>
                  <a:pt x="290820" y="1054521"/>
                  <a:pt x="277906" y="1048871"/>
                </a:cubicBezTo>
                <a:cubicBezTo>
                  <a:pt x="266618" y="1043933"/>
                  <a:pt x="253736" y="1043802"/>
                  <a:pt x="242047" y="1039906"/>
                </a:cubicBezTo>
                <a:cubicBezTo>
                  <a:pt x="202300" y="1026657"/>
                  <a:pt x="210930" y="1023448"/>
                  <a:pt x="170330" y="999565"/>
                </a:cubicBezTo>
                <a:cubicBezTo>
                  <a:pt x="157305" y="991903"/>
                  <a:pt x="115781" y="974154"/>
                  <a:pt x="103094" y="963706"/>
                </a:cubicBezTo>
                <a:cubicBezTo>
                  <a:pt x="97149" y="958811"/>
                  <a:pt x="45770" y="908506"/>
                  <a:pt x="35859" y="891988"/>
                </a:cubicBezTo>
                <a:cubicBezTo>
                  <a:pt x="28288" y="879370"/>
                  <a:pt x="24196" y="864962"/>
                  <a:pt x="17930" y="851647"/>
                </a:cubicBezTo>
                <a:cubicBezTo>
                  <a:pt x="12240" y="839555"/>
                  <a:pt x="5977" y="827741"/>
                  <a:pt x="0" y="815788"/>
                </a:cubicBezTo>
                <a:cubicBezTo>
                  <a:pt x="7471" y="788894"/>
                  <a:pt x="9535" y="759870"/>
                  <a:pt x="22412" y="735106"/>
                </a:cubicBezTo>
                <a:cubicBezTo>
                  <a:pt x="29740" y="721014"/>
                  <a:pt x="46660" y="714566"/>
                  <a:pt x="58271" y="703729"/>
                </a:cubicBezTo>
                <a:cubicBezTo>
                  <a:pt x="69084" y="693637"/>
                  <a:pt x="76718" y="679536"/>
                  <a:pt x="89647" y="672353"/>
                </a:cubicBezTo>
                <a:cubicBezTo>
                  <a:pt x="138949" y="644963"/>
                  <a:pt x="245338" y="615599"/>
                  <a:pt x="295835" y="605118"/>
                </a:cubicBezTo>
                <a:cubicBezTo>
                  <a:pt x="335766" y="596830"/>
                  <a:pt x="377065" y="596107"/>
                  <a:pt x="416859" y="587188"/>
                </a:cubicBezTo>
                <a:cubicBezTo>
                  <a:pt x="463921" y="576639"/>
                  <a:pt x="508518" y="556306"/>
                  <a:pt x="555812" y="546847"/>
                </a:cubicBezTo>
                <a:cubicBezTo>
                  <a:pt x="613419" y="535326"/>
                  <a:pt x="672908" y="535394"/>
                  <a:pt x="730624" y="524435"/>
                </a:cubicBezTo>
                <a:cubicBezTo>
                  <a:pt x="791147" y="512943"/>
                  <a:pt x="850485" y="495821"/>
                  <a:pt x="909918" y="479612"/>
                </a:cubicBezTo>
                <a:cubicBezTo>
                  <a:pt x="965560" y="464437"/>
                  <a:pt x="1020745" y="447598"/>
                  <a:pt x="1075765" y="430306"/>
                </a:cubicBezTo>
                <a:cubicBezTo>
                  <a:pt x="1179229" y="397789"/>
                  <a:pt x="1250630" y="373192"/>
                  <a:pt x="1349188" y="331694"/>
                </a:cubicBezTo>
                <a:cubicBezTo>
                  <a:pt x="1568226" y="239467"/>
                  <a:pt x="1408813" y="313613"/>
                  <a:pt x="1532965" y="233082"/>
                </a:cubicBezTo>
                <a:cubicBezTo>
                  <a:pt x="1569511" y="209377"/>
                  <a:pt x="1610175" y="191983"/>
                  <a:pt x="1645024" y="165847"/>
                </a:cubicBezTo>
                <a:cubicBezTo>
                  <a:pt x="1662953" y="152400"/>
                  <a:pt x="1681221" y="139393"/>
                  <a:pt x="1698812" y="125506"/>
                </a:cubicBezTo>
                <a:cubicBezTo>
                  <a:pt x="1744932" y="89095"/>
                  <a:pt x="1742464" y="77340"/>
                  <a:pt x="1815353" y="49306"/>
                </a:cubicBezTo>
                <a:cubicBezTo>
                  <a:pt x="1834777" y="41835"/>
                  <a:pt x="1853192" y="30848"/>
                  <a:pt x="1873624" y="26894"/>
                </a:cubicBezTo>
                <a:cubicBezTo>
                  <a:pt x="1900069" y="21776"/>
                  <a:pt x="1927412" y="23906"/>
                  <a:pt x="1954306" y="22412"/>
                </a:cubicBezTo>
                <a:cubicBezTo>
                  <a:pt x="1996924" y="11757"/>
                  <a:pt x="2034785" y="0"/>
                  <a:pt x="2079812" y="0"/>
                </a:cubicBezTo>
                <a:cubicBezTo>
                  <a:pt x="2092133" y="0"/>
                  <a:pt x="2103518" y="6939"/>
                  <a:pt x="2115671" y="8965"/>
                </a:cubicBezTo>
                <a:cubicBezTo>
                  <a:pt x="2130482" y="11434"/>
                  <a:pt x="2145510" y="12480"/>
                  <a:pt x="2160494" y="13447"/>
                </a:cubicBezTo>
                <a:lnTo>
                  <a:pt x="2393577" y="26894"/>
                </a:lnTo>
                <a:cubicBezTo>
                  <a:pt x="2405530" y="31376"/>
                  <a:pt x="2418697" y="33438"/>
                  <a:pt x="2429435" y="40341"/>
                </a:cubicBezTo>
                <a:cubicBezTo>
                  <a:pt x="2440100" y="47197"/>
                  <a:pt x="2446984" y="58668"/>
                  <a:pt x="2456330" y="67235"/>
                </a:cubicBezTo>
                <a:cubicBezTo>
                  <a:pt x="2490404" y="98469"/>
                  <a:pt x="2479408" y="79497"/>
                  <a:pt x="2505635" y="121023"/>
                </a:cubicBezTo>
                <a:cubicBezTo>
                  <a:pt x="2525774" y="152909"/>
                  <a:pt x="2526742" y="168495"/>
                  <a:pt x="2550459" y="188259"/>
                </a:cubicBezTo>
                <a:cubicBezTo>
                  <a:pt x="2554597" y="191708"/>
                  <a:pt x="2559424" y="194235"/>
                  <a:pt x="2563906" y="197223"/>
                </a:cubicBezTo>
                <a:cubicBezTo>
                  <a:pt x="2568388" y="206188"/>
                  <a:pt x="2573631" y="214812"/>
                  <a:pt x="2577353" y="224118"/>
                </a:cubicBezTo>
                <a:cubicBezTo>
                  <a:pt x="2579641" y="229838"/>
                  <a:pt x="2579333" y="236418"/>
                  <a:pt x="2581835" y="242047"/>
                </a:cubicBezTo>
                <a:cubicBezTo>
                  <a:pt x="2585373" y="250008"/>
                  <a:pt x="2591386" y="256667"/>
                  <a:pt x="2595282" y="264459"/>
                </a:cubicBezTo>
                <a:cubicBezTo>
                  <a:pt x="2598880" y="271656"/>
                  <a:pt x="2601259" y="279400"/>
                  <a:pt x="2604247" y="286871"/>
                </a:cubicBezTo>
                <a:cubicBezTo>
                  <a:pt x="2612230" y="334760"/>
                  <a:pt x="2614386" y="333230"/>
                  <a:pt x="2599765" y="403412"/>
                </a:cubicBezTo>
                <a:cubicBezTo>
                  <a:pt x="2598241" y="410725"/>
                  <a:pt x="2590800" y="415365"/>
                  <a:pt x="2586318" y="421341"/>
                </a:cubicBezTo>
                <a:cubicBezTo>
                  <a:pt x="2584824" y="425823"/>
                  <a:pt x="2584787" y="431099"/>
                  <a:pt x="2581835" y="434788"/>
                </a:cubicBezTo>
                <a:cubicBezTo>
                  <a:pt x="2575515" y="442688"/>
                  <a:pt x="2563801" y="445282"/>
                  <a:pt x="2554941" y="448235"/>
                </a:cubicBezTo>
                <a:cubicBezTo>
                  <a:pt x="2547471" y="457200"/>
                  <a:pt x="2541081" y="467189"/>
                  <a:pt x="2532530" y="475129"/>
                </a:cubicBezTo>
                <a:cubicBezTo>
                  <a:pt x="2520046" y="486721"/>
                  <a:pt x="2538506" y="506506"/>
                  <a:pt x="2519082" y="524435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7011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7" y="1257343"/>
            <a:ext cx="382611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ption 2A: Looping section of 2”</a:t>
            </a:r>
          </a:p>
          <a:p>
            <a:endParaRPr lang="en-US" dirty="0"/>
          </a:p>
          <a:p>
            <a:r>
              <a:rPr lang="en-US" i="1" dirty="0"/>
              <a:t>Cheapest option $</a:t>
            </a:r>
          </a:p>
          <a:p>
            <a:endParaRPr lang="en-US" dirty="0"/>
          </a:p>
          <a:p>
            <a:r>
              <a:rPr lang="en-US" dirty="0"/>
              <a:t>Constraints still exist and pressure drop still too high </a:t>
            </a:r>
          </a:p>
          <a:p>
            <a:endParaRPr lang="en-US" dirty="0"/>
          </a:p>
          <a:p>
            <a:r>
              <a:rPr lang="en-US" b="1" dirty="0"/>
              <a:t>RECAP</a:t>
            </a:r>
            <a:r>
              <a:rPr lang="en-US" dirty="0"/>
              <a:t>:</a:t>
            </a:r>
          </a:p>
          <a:p>
            <a:r>
              <a:rPr lang="en-US" dirty="0"/>
              <a:t>Before: 35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No </a:t>
            </a:r>
            <a:r>
              <a:rPr lang="en-US" dirty="0" err="1"/>
              <a:t>reinf</a:t>
            </a:r>
            <a:r>
              <a:rPr lang="en-US" dirty="0"/>
              <a:t>: 17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w/ 4” relay: 36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2” Loop: 33.1 </a:t>
            </a:r>
            <a:r>
              <a:rPr lang="en-US" dirty="0" err="1"/>
              <a:t>psig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9A1726-963C-028F-88EA-27F8CFE2788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0" r="3887"/>
          <a:stretch>
            <a:fillRect/>
          </a:stretch>
        </p:blipFill>
        <p:spPr>
          <a:xfrm>
            <a:off x="4305043" y="1176320"/>
            <a:ext cx="7790501" cy="477485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DBFF9B5-59B9-214D-FBE1-76249D3C9822}"/>
              </a:ext>
            </a:extLst>
          </p:cNvPr>
          <p:cNvSpPr/>
          <p:nvPr/>
        </p:nvSpPr>
        <p:spPr>
          <a:xfrm>
            <a:off x="8610600" y="2671860"/>
            <a:ext cx="1174384" cy="546847"/>
          </a:xfrm>
          <a:custGeom>
            <a:avLst/>
            <a:gdLst>
              <a:gd name="connsiteX0" fmla="*/ 1174384 w 1174384"/>
              <a:gd name="connsiteY0" fmla="*/ 129988 h 546847"/>
              <a:gd name="connsiteX1" fmla="*/ 1107149 w 1174384"/>
              <a:gd name="connsiteY1" fmla="*/ 107576 h 546847"/>
              <a:gd name="connsiteX2" fmla="*/ 990608 w 1174384"/>
              <a:gd name="connsiteY2" fmla="*/ 85164 h 546847"/>
              <a:gd name="connsiteX3" fmla="*/ 847173 w 1174384"/>
              <a:gd name="connsiteY3" fmla="*/ 53788 h 546847"/>
              <a:gd name="connsiteX4" fmla="*/ 690290 w 1174384"/>
              <a:gd name="connsiteY4" fmla="*/ 8964 h 546847"/>
              <a:gd name="connsiteX5" fmla="*/ 582714 w 1174384"/>
              <a:gd name="connsiteY5" fmla="*/ 0 h 546847"/>
              <a:gd name="connsiteX6" fmla="*/ 528925 w 1174384"/>
              <a:gd name="connsiteY6" fmla="*/ 8964 h 546847"/>
              <a:gd name="connsiteX7" fmla="*/ 412384 w 1174384"/>
              <a:gd name="connsiteY7" fmla="*/ 53788 h 546847"/>
              <a:gd name="connsiteX8" fmla="*/ 295843 w 1174384"/>
              <a:gd name="connsiteY8" fmla="*/ 71717 h 546847"/>
              <a:gd name="connsiteX9" fmla="*/ 251020 w 1174384"/>
              <a:gd name="connsiteY9" fmla="*/ 94129 h 546847"/>
              <a:gd name="connsiteX10" fmla="*/ 219643 w 1174384"/>
              <a:gd name="connsiteY10" fmla="*/ 98611 h 546847"/>
              <a:gd name="connsiteX11" fmla="*/ 179302 w 1174384"/>
              <a:gd name="connsiteY11" fmla="*/ 125506 h 546847"/>
              <a:gd name="connsiteX12" fmla="*/ 143443 w 1174384"/>
              <a:gd name="connsiteY12" fmla="*/ 138953 h 546847"/>
              <a:gd name="connsiteX13" fmla="*/ 112067 w 1174384"/>
              <a:gd name="connsiteY13" fmla="*/ 161364 h 546847"/>
              <a:gd name="connsiteX14" fmla="*/ 71725 w 1174384"/>
              <a:gd name="connsiteY14" fmla="*/ 188259 h 546847"/>
              <a:gd name="connsiteX15" fmla="*/ 17937 w 1174384"/>
              <a:gd name="connsiteY15" fmla="*/ 233082 h 546847"/>
              <a:gd name="connsiteX16" fmla="*/ 8 w 1174384"/>
              <a:gd name="connsiteY16" fmla="*/ 273423 h 546847"/>
              <a:gd name="connsiteX17" fmla="*/ 49314 w 1174384"/>
              <a:gd name="connsiteY17" fmla="*/ 434788 h 546847"/>
              <a:gd name="connsiteX18" fmla="*/ 112067 w 1174384"/>
              <a:gd name="connsiteY18" fmla="*/ 497541 h 546847"/>
              <a:gd name="connsiteX19" fmla="*/ 156890 w 1174384"/>
              <a:gd name="connsiteY19" fmla="*/ 524435 h 546847"/>
              <a:gd name="connsiteX20" fmla="*/ 246537 w 1174384"/>
              <a:gd name="connsiteY20" fmla="*/ 546847 h 546847"/>
              <a:gd name="connsiteX21" fmla="*/ 484102 w 1174384"/>
              <a:gd name="connsiteY21" fmla="*/ 524435 h 546847"/>
              <a:gd name="connsiteX22" fmla="*/ 730631 w 1174384"/>
              <a:gd name="connsiteY22" fmla="*/ 466164 h 546847"/>
              <a:gd name="connsiteX23" fmla="*/ 770973 w 1174384"/>
              <a:gd name="connsiteY23" fmla="*/ 452717 h 546847"/>
              <a:gd name="connsiteX24" fmla="*/ 941302 w 1174384"/>
              <a:gd name="connsiteY24" fmla="*/ 439270 h 546847"/>
              <a:gd name="connsiteX25" fmla="*/ 968196 w 1174384"/>
              <a:gd name="connsiteY25" fmla="*/ 412376 h 546847"/>
              <a:gd name="connsiteX26" fmla="*/ 995090 w 1174384"/>
              <a:gd name="connsiteY26" fmla="*/ 394447 h 546847"/>
              <a:gd name="connsiteX27" fmla="*/ 1013020 w 1174384"/>
              <a:gd name="connsiteY27" fmla="*/ 367553 h 546847"/>
              <a:gd name="connsiteX28" fmla="*/ 1039914 w 1174384"/>
              <a:gd name="connsiteY28" fmla="*/ 345141 h 546847"/>
              <a:gd name="connsiteX29" fmla="*/ 1053361 w 1174384"/>
              <a:gd name="connsiteY29" fmla="*/ 331694 h 546847"/>
              <a:gd name="connsiteX30" fmla="*/ 1089220 w 1174384"/>
              <a:gd name="connsiteY30" fmla="*/ 259976 h 546847"/>
              <a:gd name="connsiteX31" fmla="*/ 1107149 w 1174384"/>
              <a:gd name="connsiteY31" fmla="*/ 224117 h 546847"/>
              <a:gd name="connsiteX32" fmla="*/ 1129561 w 1174384"/>
              <a:gd name="connsiteY32" fmla="*/ 188259 h 546847"/>
              <a:gd name="connsiteX33" fmla="*/ 1120596 w 1174384"/>
              <a:gd name="connsiteY33" fmla="*/ 121023 h 546847"/>
              <a:gd name="connsiteX34" fmla="*/ 1102667 w 1174384"/>
              <a:gd name="connsiteY34" fmla="*/ 107576 h 546847"/>
              <a:gd name="connsiteX35" fmla="*/ 1129561 w 1174384"/>
              <a:gd name="connsiteY35" fmla="*/ 103094 h 546847"/>
              <a:gd name="connsiteX36" fmla="*/ 1138525 w 1174384"/>
              <a:gd name="connsiteY36" fmla="*/ 94129 h 546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174384" h="546847">
                <a:moveTo>
                  <a:pt x="1174384" y="129988"/>
                </a:moveTo>
                <a:cubicBezTo>
                  <a:pt x="1149341" y="119970"/>
                  <a:pt x="1136702" y="114143"/>
                  <a:pt x="1107149" y="107576"/>
                </a:cubicBezTo>
                <a:cubicBezTo>
                  <a:pt x="1068532" y="98994"/>
                  <a:pt x="1029346" y="93179"/>
                  <a:pt x="990608" y="85164"/>
                </a:cubicBezTo>
                <a:cubicBezTo>
                  <a:pt x="942681" y="75248"/>
                  <a:pt x="894603" y="65861"/>
                  <a:pt x="847173" y="53788"/>
                </a:cubicBezTo>
                <a:cubicBezTo>
                  <a:pt x="839901" y="51937"/>
                  <a:pt x="720531" y="13164"/>
                  <a:pt x="690290" y="8964"/>
                </a:cubicBezTo>
                <a:cubicBezTo>
                  <a:pt x="654649" y="4014"/>
                  <a:pt x="618573" y="2988"/>
                  <a:pt x="582714" y="0"/>
                </a:cubicBezTo>
                <a:cubicBezTo>
                  <a:pt x="564784" y="2988"/>
                  <a:pt x="546375" y="3875"/>
                  <a:pt x="528925" y="8964"/>
                </a:cubicBezTo>
                <a:cubicBezTo>
                  <a:pt x="455807" y="30290"/>
                  <a:pt x="492088" y="35855"/>
                  <a:pt x="412384" y="53788"/>
                </a:cubicBezTo>
                <a:cubicBezTo>
                  <a:pt x="374039" y="62416"/>
                  <a:pt x="334690" y="65741"/>
                  <a:pt x="295843" y="71717"/>
                </a:cubicBezTo>
                <a:cubicBezTo>
                  <a:pt x="280902" y="79188"/>
                  <a:pt x="266772" y="88569"/>
                  <a:pt x="251020" y="94129"/>
                </a:cubicBezTo>
                <a:cubicBezTo>
                  <a:pt x="241057" y="97645"/>
                  <a:pt x="229322" y="94376"/>
                  <a:pt x="219643" y="98611"/>
                </a:cubicBezTo>
                <a:cubicBezTo>
                  <a:pt x="204837" y="105089"/>
                  <a:pt x="193585" y="117944"/>
                  <a:pt x="179302" y="125506"/>
                </a:cubicBezTo>
                <a:cubicBezTo>
                  <a:pt x="168020" y="131479"/>
                  <a:pt x="154707" y="132946"/>
                  <a:pt x="143443" y="138953"/>
                </a:cubicBezTo>
                <a:cubicBezTo>
                  <a:pt x="132102" y="145001"/>
                  <a:pt x="122761" y="154235"/>
                  <a:pt x="112067" y="161364"/>
                </a:cubicBezTo>
                <a:cubicBezTo>
                  <a:pt x="94376" y="173158"/>
                  <a:pt x="87083" y="174297"/>
                  <a:pt x="71725" y="188259"/>
                </a:cubicBezTo>
                <a:cubicBezTo>
                  <a:pt x="23150" y="232419"/>
                  <a:pt x="59534" y="208124"/>
                  <a:pt x="17937" y="233082"/>
                </a:cubicBezTo>
                <a:cubicBezTo>
                  <a:pt x="11961" y="246529"/>
                  <a:pt x="-379" y="258713"/>
                  <a:pt x="8" y="273423"/>
                </a:cubicBezTo>
                <a:cubicBezTo>
                  <a:pt x="2631" y="373076"/>
                  <a:pt x="739" y="383784"/>
                  <a:pt x="49314" y="434788"/>
                </a:cubicBezTo>
                <a:cubicBezTo>
                  <a:pt x="69715" y="456210"/>
                  <a:pt x="86701" y="482321"/>
                  <a:pt x="112067" y="497541"/>
                </a:cubicBezTo>
                <a:cubicBezTo>
                  <a:pt x="127008" y="506506"/>
                  <a:pt x="140531" y="518437"/>
                  <a:pt x="156890" y="524435"/>
                </a:cubicBezTo>
                <a:cubicBezTo>
                  <a:pt x="185809" y="535039"/>
                  <a:pt x="246537" y="546847"/>
                  <a:pt x="246537" y="546847"/>
                </a:cubicBezTo>
                <a:lnTo>
                  <a:pt x="484102" y="524435"/>
                </a:lnTo>
                <a:cubicBezTo>
                  <a:pt x="675571" y="462337"/>
                  <a:pt x="591921" y="473871"/>
                  <a:pt x="730631" y="466164"/>
                </a:cubicBezTo>
                <a:cubicBezTo>
                  <a:pt x="744078" y="461682"/>
                  <a:pt x="756893" y="454354"/>
                  <a:pt x="770973" y="452717"/>
                </a:cubicBezTo>
                <a:cubicBezTo>
                  <a:pt x="997623" y="426363"/>
                  <a:pt x="865761" y="458158"/>
                  <a:pt x="941302" y="439270"/>
                </a:cubicBezTo>
                <a:cubicBezTo>
                  <a:pt x="950267" y="430305"/>
                  <a:pt x="958456" y="420492"/>
                  <a:pt x="968196" y="412376"/>
                </a:cubicBezTo>
                <a:cubicBezTo>
                  <a:pt x="976473" y="405479"/>
                  <a:pt x="987471" y="402065"/>
                  <a:pt x="995090" y="394447"/>
                </a:cubicBezTo>
                <a:cubicBezTo>
                  <a:pt x="1002709" y="386828"/>
                  <a:pt x="1005772" y="375525"/>
                  <a:pt x="1013020" y="367553"/>
                </a:cubicBezTo>
                <a:cubicBezTo>
                  <a:pt x="1020870" y="358918"/>
                  <a:pt x="1031192" y="352894"/>
                  <a:pt x="1039914" y="345141"/>
                </a:cubicBezTo>
                <a:cubicBezTo>
                  <a:pt x="1044652" y="340930"/>
                  <a:pt x="1048879" y="336176"/>
                  <a:pt x="1053361" y="331694"/>
                </a:cubicBezTo>
                <a:cubicBezTo>
                  <a:pt x="1069227" y="276158"/>
                  <a:pt x="1052632" y="322174"/>
                  <a:pt x="1089220" y="259976"/>
                </a:cubicBezTo>
                <a:cubicBezTo>
                  <a:pt x="1095996" y="248457"/>
                  <a:pt x="1100597" y="235765"/>
                  <a:pt x="1107149" y="224117"/>
                </a:cubicBezTo>
                <a:cubicBezTo>
                  <a:pt x="1114059" y="211832"/>
                  <a:pt x="1122090" y="200212"/>
                  <a:pt x="1129561" y="188259"/>
                </a:cubicBezTo>
                <a:cubicBezTo>
                  <a:pt x="1126573" y="165847"/>
                  <a:pt x="1127746" y="142473"/>
                  <a:pt x="1120596" y="121023"/>
                </a:cubicBezTo>
                <a:cubicBezTo>
                  <a:pt x="1118234" y="113936"/>
                  <a:pt x="1099326" y="114258"/>
                  <a:pt x="1102667" y="107576"/>
                </a:cubicBezTo>
                <a:cubicBezTo>
                  <a:pt x="1106732" y="99447"/>
                  <a:pt x="1120596" y="104588"/>
                  <a:pt x="1129561" y="103094"/>
                </a:cubicBezTo>
                <a:cubicBezTo>
                  <a:pt x="1144251" y="93300"/>
                  <a:pt x="1148395" y="94129"/>
                  <a:pt x="1138525" y="94129"/>
                </a:cubicBez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1548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Part 2: Model Application – New Custo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7C193-F786-EAA3-A0D5-0658F1395CEC}"/>
              </a:ext>
            </a:extLst>
          </p:cNvPr>
          <p:cNvSpPr txBox="1"/>
          <p:nvPr/>
        </p:nvSpPr>
        <p:spPr>
          <a:xfrm>
            <a:off x="294468" y="1108140"/>
            <a:ext cx="361777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ption 2B: Looping with 4”</a:t>
            </a:r>
          </a:p>
          <a:p>
            <a:endParaRPr lang="en-US" dirty="0"/>
          </a:p>
          <a:p>
            <a:r>
              <a:rPr lang="en-US" dirty="0"/>
              <a:t>Improves pressure</a:t>
            </a:r>
          </a:p>
          <a:p>
            <a:r>
              <a:rPr lang="en-US" dirty="0"/>
              <a:t>Two-way feed</a:t>
            </a:r>
          </a:p>
          <a:p>
            <a:endParaRPr lang="en-US" dirty="0"/>
          </a:p>
          <a:p>
            <a:r>
              <a:rPr lang="en-US" dirty="0"/>
              <a:t>$$ cheaper than Option 1</a:t>
            </a:r>
          </a:p>
          <a:p>
            <a:endParaRPr lang="en-US" dirty="0"/>
          </a:p>
          <a:p>
            <a:r>
              <a:rPr lang="en-US" b="1" dirty="0"/>
              <a:t>RECAP</a:t>
            </a:r>
          </a:p>
          <a:p>
            <a:r>
              <a:rPr lang="en-US" dirty="0"/>
              <a:t>Before: 35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No </a:t>
            </a:r>
            <a:r>
              <a:rPr lang="en-US" dirty="0" err="1"/>
              <a:t>reinf</a:t>
            </a:r>
            <a:r>
              <a:rPr lang="en-US" dirty="0"/>
              <a:t>: 17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w/ 4” relay: 36.4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2” Loop: 33.1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4” loop: 36.0 </a:t>
            </a:r>
            <a:r>
              <a:rPr lang="en-US" dirty="0" err="1"/>
              <a:t>psig</a:t>
            </a:r>
            <a:endParaRPr lang="en-US" dirty="0"/>
          </a:p>
          <a:p>
            <a:endParaRPr lang="en-US" dirty="0"/>
          </a:p>
          <a:p>
            <a:r>
              <a:rPr lang="en-US" b="1" dirty="0"/>
              <a:t>Design Criteria:</a:t>
            </a:r>
          </a:p>
          <a:p>
            <a:r>
              <a:rPr lang="en-US" dirty="0"/>
              <a:t>Allowable pressure drop = 2 </a:t>
            </a:r>
            <a:r>
              <a:rPr lang="en-US" dirty="0" err="1"/>
              <a:t>psig</a:t>
            </a:r>
            <a:endParaRPr lang="en-US" dirty="0"/>
          </a:p>
          <a:p>
            <a:r>
              <a:rPr lang="en-US" dirty="0"/>
              <a:t>Min design pressure = 10 </a:t>
            </a:r>
            <a:r>
              <a:rPr lang="en-US" dirty="0" err="1"/>
              <a:t>psig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3DC7B9-72F3-F6DA-7C0E-8A32D8E284B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761"/>
          <a:stretch>
            <a:fillRect/>
          </a:stretch>
        </p:blipFill>
        <p:spPr>
          <a:xfrm>
            <a:off x="4099227" y="1237087"/>
            <a:ext cx="7928710" cy="4543420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45BE14F-4D18-CF87-2356-C5510FEC02E5}"/>
              </a:ext>
            </a:extLst>
          </p:cNvPr>
          <p:cNvSpPr/>
          <p:nvPr/>
        </p:nvSpPr>
        <p:spPr>
          <a:xfrm>
            <a:off x="7485529" y="2401499"/>
            <a:ext cx="2250142" cy="1178894"/>
          </a:xfrm>
          <a:custGeom>
            <a:avLst/>
            <a:gdLst>
              <a:gd name="connsiteX0" fmla="*/ 708212 w 2250142"/>
              <a:gd name="connsiteY0" fmla="*/ 35 h 1178894"/>
              <a:gd name="connsiteX1" fmla="*/ 676836 w 2250142"/>
              <a:gd name="connsiteY1" fmla="*/ 13482 h 1178894"/>
              <a:gd name="connsiteX2" fmla="*/ 439271 w 2250142"/>
              <a:gd name="connsiteY2" fmla="*/ 40376 h 1178894"/>
              <a:gd name="connsiteX3" fmla="*/ 340659 w 2250142"/>
              <a:gd name="connsiteY3" fmla="*/ 62788 h 1178894"/>
              <a:gd name="connsiteX4" fmla="*/ 259977 w 2250142"/>
              <a:gd name="connsiteY4" fmla="*/ 125541 h 1178894"/>
              <a:gd name="connsiteX5" fmla="*/ 183777 w 2250142"/>
              <a:gd name="connsiteY5" fmla="*/ 183811 h 1178894"/>
              <a:gd name="connsiteX6" fmla="*/ 129989 w 2250142"/>
              <a:gd name="connsiteY6" fmla="*/ 210706 h 1178894"/>
              <a:gd name="connsiteX7" fmla="*/ 8965 w 2250142"/>
              <a:gd name="connsiteY7" fmla="*/ 407929 h 1178894"/>
              <a:gd name="connsiteX8" fmla="*/ 0 w 2250142"/>
              <a:gd name="connsiteY8" fmla="*/ 470682 h 1178894"/>
              <a:gd name="connsiteX9" fmla="*/ 134471 w 2250142"/>
              <a:gd name="connsiteY9" fmla="*/ 771000 h 1178894"/>
              <a:gd name="connsiteX10" fmla="*/ 183777 w 2250142"/>
              <a:gd name="connsiteY10" fmla="*/ 806858 h 1178894"/>
              <a:gd name="connsiteX11" fmla="*/ 381000 w 2250142"/>
              <a:gd name="connsiteY11" fmla="*/ 869611 h 1178894"/>
              <a:gd name="connsiteX12" fmla="*/ 443753 w 2250142"/>
              <a:gd name="connsiteY12" fmla="*/ 887541 h 1178894"/>
              <a:gd name="connsiteX13" fmla="*/ 667871 w 2250142"/>
              <a:gd name="connsiteY13" fmla="*/ 941329 h 1178894"/>
              <a:gd name="connsiteX14" fmla="*/ 788895 w 2250142"/>
              <a:gd name="connsiteY14" fmla="*/ 990635 h 1178894"/>
              <a:gd name="connsiteX15" fmla="*/ 865095 w 2250142"/>
              <a:gd name="connsiteY15" fmla="*/ 1017529 h 1178894"/>
              <a:gd name="connsiteX16" fmla="*/ 927848 w 2250142"/>
              <a:gd name="connsiteY16" fmla="*/ 1044423 h 1178894"/>
              <a:gd name="connsiteX17" fmla="*/ 1290918 w 2250142"/>
              <a:gd name="connsiteY17" fmla="*/ 1098211 h 1178894"/>
              <a:gd name="connsiteX18" fmla="*/ 1389530 w 2250142"/>
              <a:gd name="connsiteY18" fmla="*/ 1129588 h 1178894"/>
              <a:gd name="connsiteX19" fmla="*/ 1622612 w 2250142"/>
              <a:gd name="connsiteY19" fmla="*/ 1178894 h 1178894"/>
              <a:gd name="connsiteX20" fmla="*/ 1770530 w 2250142"/>
              <a:gd name="connsiteY20" fmla="*/ 1174411 h 1178894"/>
              <a:gd name="connsiteX21" fmla="*/ 1891553 w 2250142"/>
              <a:gd name="connsiteY21" fmla="*/ 1111658 h 1178894"/>
              <a:gd name="connsiteX22" fmla="*/ 1931895 w 2250142"/>
              <a:gd name="connsiteY22" fmla="*/ 1084764 h 1178894"/>
              <a:gd name="connsiteX23" fmla="*/ 1985683 w 2250142"/>
              <a:gd name="connsiteY23" fmla="*/ 1053388 h 1178894"/>
              <a:gd name="connsiteX24" fmla="*/ 2075330 w 2250142"/>
              <a:gd name="connsiteY24" fmla="*/ 1013047 h 1178894"/>
              <a:gd name="connsiteX25" fmla="*/ 2178424 w 2250142"/>
              <a:gd name="connsiteY25" fmla="*/ 927882 h 1178894"/>
              <a:gd name="connsiteX26" fmla="*/ 2218765 w 2250142"/>
              <a:gd name="connsiteY26" fmla="*/ 892023 h 1178894"/>
              <a:gd name="connsiteX27" fmla="*/ 2236695 w 2250142"/>
              <a:gd name="connsiteY27" fmla="*/ 860647 h 1178894"/>
              <a:gd name="connsiteX28" fmla="*/ 2250142 w 2250142"/>
              <a:gd name="connsiteY28" fmla="*/ 820306 h 1178894"/>
              <a:gd name="connsiteX29" fmla="*/ 2245659 w 2250142"/>
              <a:gd name="connsiteY29" fmla="*/ 753070 h 1178894"/>
              <a:gd name="connsiteX30" fmla="*/ 2241177 w 2250142"/>
              <a:gd name="connsiteY30" fmla="*/ 721694 h 1178894"/>
              <a:gd name="connsiteX31" fmla="*/ 2196353 w 2250142"/>
              <a:gd name="connsiteY31" fmla="*/ 641011 h 1178894"/>
              <a:gd name="connsiteX32" fmla="*/ 2178424 w 2250142"/>
              <a:gd name="connsiteY32" fmla="*/ 609635 h 1178894"/>
              <a:gd name="connsiteX33" fmla="*/ 2106706 w 2250142"/>
              <a:gd name="connsiteY33" fmla="*/ 533435 h 1178894"/>
              <a:gd name="connsiteX34" fmla="*/ 2030506 w 2250142"/>
              <a:gd name="connsiteY34" fmla="*/ 466200 h 1178894"/>
              <a:gd name="connsiteX35" fmla="*/ 1972236 w 2250142"/>
              <a:gd name="connsiteY35" fmla="*/ 407929 h 1178894"/>
              <a:gd name="connsiteX36" fmla="*/ 1936377 w 2250142"/>
              <a:gd name="connsiteY36" fmla="*/ 367588 h 1178894"/>
              <a:gd name="connsiteX37" fmla="*/ 1909483 w 2250142"/>
              <a:gd name="connsiteY37" fmla="*/ 349658 h 1178894"/>
              <a:gd name="connsiteX38" fmla="*/ 1806389 w 2250142"/>
              <a:gd name="connsiteY38" fmla="*/ 313800 h 1178894"/>
              <a:gd name="connsiteX39" fmla="*/ 1707777 w 2250142"/>
              <a:gd name="connsiteY39" fmla="*/ 264494 h 1178894"/>
              <a:gd name="connsiteX40" fmla="*/ 1667436 w 2250142"/>
              <a:gd name="connsiteY40" fmla="*/ 246564 h 1178894"/>
              <a:gd name="connsiteX41" fmla="*/ 1591236 w 2250142"/>
              <a:gd name="connsiteY41" fmla="*/ 233117 h 1178894"/>
              <a:gd name="connsiteX42" fmla="*/ 1546412 w 2250142"/>
              <a:gd name="connsiteY42" fmla="*/ 215188 h 1178894"/>
              <a:gd name="connsiteX43" fmla="*/ 1461248 w 2250142"/>
              <a:gd name="connsiteY43" fmla="*/ 192776 h 1178894"/>
              <a:gd name="connsiteX44" fmla="*/ 1425389 w 2250142"/>
              <a:gd name="connsiteY44" fmla="*/ 188294 h 1178894"/>
              <a:gd name="connsiteX45" fmla="*/ 1326777 w 2250142"/>
              <a:gd name="connsiteY45" fmla="*/ 147953 h 1178894"/>
              <a:gd name="connsiteX46" fmla="*/ 1196789 w 2250142"/>
              <a:gd name="connsiteY46" fmla="*/ 107611 h 1178894"/>
              <a:gd name="connsiteX47" fmla="*/ 905436 w 2250142"/>
              <a:gd name="connsiteY47" fmla="*/ 9000 h 1178894"/>
              <a:gd name="connsiteX48" fmla="*/ 851648 w 2250142"/>
              <a:gd name="connsiteY48" fmla="*/ 4517 h 1178894"/>
              <a:gd name="connsiteX49" fmla="*/ 730624 w 2250142"/>
              <a:gd name="connsiteY49" fmla="*/ 17964 h 1178894"/>
              <a:gd name="connsiteX50" fmla="*/ 708212 w 2250142"/>
              <a:gd name="connsiteY50" fmla="*/ 35 h 1178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250142" h="1178894">
                <a:moveTo>
                  <a:pt x="708212" y="35"/>
                </a:moveTo>
                <a:cubicBezTo>
                  <a:pt x="699247" y="-712"/>
                  <a:pt x="687851" y="10626"/>
                  <a:pt x="676836" y="13482"/>
                </a:cubicBezTo>
                <a:cubicBezTo>
                  <a:pt x="579945" y="38602"/>
                  <a:pt x="550836" y="33614"/>
                  <a:pt x="439271" y="40376"/>
                </a:cubicBezTo>
                <a:cubicBezTo>
                  <a:pt x="406400" y="47847"/>
                  <a:pt x="372638" y="52128"/>
                  <a:pt x="340659" y="62788"/>
                </a:cubicBezTo>
                <a:cubicBezTo>
                  <a:pt x="312941" y="72027"/>
                  <a:pt x="279359" y="109748"/>
                  <a:pt x="259977" y="125541"/>
                </a:cubicBezTo>
                <a:cubicBezTo>
                  <a:pt x="235189" y="145739"/>
                  <a:pt x="212376" y="169511"/>
                  <a:pt x="183777" y="183811"/>
                </a:cubicBezTo>
                <a:lnTo>
                  <a:pt x="129989" y="210706"/>
                </a:lnTo>
                <a:cubicBezTo>
                  <a:pt x="78301" y="281189"/>
                  <a:pt x="46242" y="318880"/>
                  <a:pt x="8965" y="407929"/>
                </a:cubicBezTo>
                <a:cubicBezTo>
                  <a:pt x="806" y="427420"/>
                  <a:pt x="2988" y="449764"/>
                  <a:pt x="0" y="470682"/>
                </a:cubicBezTo>
                <a:cubicBezTo>
                  <a:pt x="29519" y="554317"/>
                  <a:pt x="92015" y="740124"/>
                  <a:pt x="134471" y="771000"/>
                </a:cubicBezTo>
                <a:cubicBezTo>
                  <a:pt x="150906" y="782953"/>
                  <a:pt x="166012" y="796989"/>
                  <a:pt x="183777" y="806858"/>
                </a:cubicBezTo>
                <a:cubicBezTo>
                  <a:pt x="253990" y="845865"/>
                  <a:pt x="297956" y="847861"/>
                  <a:pt x="381000" y="869611"/>
                </a:cubicBezTo>
                <a:cubicBezTo>
                  <a:pt x="402045" y="875123"/>
                  <a:pt x="422648" y="882265"/>
                  <a:pt x="443753" y="887541"/>
                </a:cubicBezTo>
                <a:cubicBezTo>
                  <a:pt x="518286" y="906174"/>
                  <a:pt x="596722" y="912342"/>
                  <a:pt x="667871" y="941329"/>
                </a:cubicBezTo>
                <a:cubicBezTo>
                  <a:pt x="708212" y="957764"/>
                  <a:pt x="748262" y="974936"/>
                  <a:pt x="788895" y="990635"/>
                </a:cubicBezTo>
                <a:cubicBezTo>
                  <a:pt x="814020" y="1000343"/>
                  <a:pt x="839976" y="1007805"/>
                  <a:pt x="865095" y="1017529"/>
                </a:cubicBezTo>
                <a:cubicBezTo>
                  <a:pt x="886318" y="1025744"/>
                  <a:pt x="906007" y="1038030"/>
                  <a:pt x="927848" y="1044423"/>
                </a:cubicBezTo>
                <a:cubicBezTo>
                  <a:pt x="1045812" y="1078949"/>
                  <a:pt x="1169183" y="1087626"/>
                  <a:pt x="1290918" y="1098211"/>
                </a:cubicBezTo>
                <a:cubicBezTo>
                  <a:pt x="1323789" y="1108670"/>
                  <a:pt x="1356266" y="1120457"/>
                  <a:pt x="1389530" y="1129588"/>
                </a:cubicBezTo>
                <a:cubicBezTo>
                  <a:pt x="1499439" y="1159759"/>
                  <a:pt x="1517849" y="1160674"/>
                  <a:pt x="1622612" y="1178894"/>
                </a:cubicBezTo>
                <a:lnTo>
                  <a:pt x="1770530" y="1174411"/>
                </a:lnTo>
                <a:cubicBezTo>
                  <a:pt x="1833757" y="1163468"/>
                  <a:pt x="1848375" y="1142137"/>
                  <a:pt x="1891553" y="1111658"/>
                </a:cubicBezTo>
                <a:cubicBezTo>
                  <a:pt x="1904756" y="1102338"/>
                  <a:pt x="1918153" y="1093271"/>
                  <a:pt x="1931895" y="1084764"/>
                </a:cubicBezTo>
                <a:cubicBezTo>
                  <a:pt x="1949544" y="1073839"/>
                  <a:pt x="1967118" y="1062671"/>
                  <a:pt x="1985683" y="1053388"/>
                </a:cubicBezTo>
                <a:cubicBezTo>
                  <a:pt x="2034809" y="1028825"/>
                  <a:pt x="2027746" y="1043100"/>
                  <a:pt x="2075330" y="1013047"/>
                </a:cubicBezTo>
                <a:cubicBezTo>
                  <a:pt x="2096828" y="999470"/>
                  <a:pt x="2168379" y="936617"/>
                  <a:pt x="2178424" y="927882"/>
                </a:cubicBezTo>
                <a:cubicBezTo>
                  <a:pt x="2192001" y="916076"/>
                  <a:pt x="2209838" y="907644"/>
                  <a:pt x="2218765" y="892023"/>
                </a:cubicBezTo>
                <a:cubicBezTo>
                  <a:pt x="2224742" y="881564"/>
                  <a:pt x="2231867" y="871683"/>
                  <a:pt x="2236695" y="860647"/>
                </a:cubicBezTo>
                <a:cubicBezTo>
                  <a:pt x="2242376" y="847661"/>
                  <a:pt x="2250142" y="820306"/>
                  <a:pt x="2250142" y="820306"/>
                </a:cubicBezTo>
                <a:cubicBezTo>
                  <a:pt x="2248648" y="797894"/>
                  <a:pt x="2247693" y="775440"/>
                  <a:pt x="2245659" y="753070"/>
                </a:cubicBezTo>
                <a:cubicBezTo>
                  <a:pt x="2244702" y="742549"/>
                  <a:pt x="2244328" y="731778"/>
                  <a:pt x="2241177" y="721694"/>
                </a:cubicBezTo>
                <a:cubicBezTo>
                  <a:pt x="2229232" y="683467"/>
                  <a:pt x="2217630" y="675054"/>
                  <a:pt x="2196353" y="641011"/>
                </a:cubicBezTo>
                <a:cubicBezTo>
                  <a:pt x="2189969" y="630796"/>
                  <a:pt x="2185547" y="619349"/>
                  <a:pt x="2178424" y="609635"/>
                </a:cubicBezTo>
                <a:cubicBezTo>
                  <a:pt x="2164041" y="590022"/>
                  <a:pt x="2122938" y="548418"/>
                  <a:pt x="2106706" y="533435"/>
                </a:cubicBezTo>
                <a:cubicBezTo>
                  <a:pt x="2081815" y="510459"/>
                  <a:pt x="2049296" y="494385"/>
                  <a:pt x="2030506" y="466200"/>
                </a:cubicBezTo>
                <a:cubicBezTo>
                  <a:pt x="1994096" y="411584"/>
                  <a:pt x="2035362" y="467342"/>
                  <a:pt x="1972236" y="407929"/>
                </a:cubicBezTo>
                <a:cubicBezTo>
                  <a:pt x="1959135" y="395598"/>
                  <a:pt x="1949561" y="379830"/>
                  <a:pt x="1936377" y="367588"/>
                </a:cubicBezTo>
                <a:cubicBezTo>
                  <a:pt x="1928482" y="360257"/>
                  <a:pt x="1919120" y="354476"/>
                  <a:pt x="1909483" y="349658"/>
                </a:cubicBezTo>
                <a:cubicBezTo>
                  <a:pt x="1853462" y="321647"/>
                  <a:pt x="1857208" y="325092"/>
                  <a:pt x="1806389" y="313800"/>
                </a:cubicBezTo>
                <a:cubicBezTo>
                  <a:pt x="1773518" y="297365"/>
                  <a:pt x="1741360" y="279420"/>
                  <a:pt x="1707777" y="264494"/>
                </a:cubicBezTo>
                <a:cubicBezTo>
                  <a:pt x="1694330" y="258517"/>
                  <a:pt x="1681312" y="251462"/>
                  <a:pt x="1667436" y="246564"/>
                </a:cubicBezTo>
                <a:cubicBezTo>
                  <a:pt x="1639308" y="236637"/>
                  <a:pt x="1620919" y="236416"/>
                  <a:pt x="1591236" y="233117"/>
                </a:cubicBezTo>
                <a:cubicBezTo>
                  <a:pt x="1576295" y="227141"/>
                  <a:pt x="1561601" y="220504"/>
                  <a:pt x="1546412" y="215188"/>
                </a:cubicBezTo>
                <a:cubicBezTo>
                  <a:pt x="1521704" y="206540"/>
                  <a:pt x="1487402" y="197391"/>
                  <a:pt x="1461248" y="192776"/>
                </a:cubicBezTo>
                <a:cubicBezTo>
                  <a:pt x="1449385" y="190683"/>
                  <a:pt x="1437342" y="189788"/>
                  <a:pt x="1425389" y="188294"/>
                </a:cubicBezTo>
                <a:cubicBezTo>
                  <a:pt x="1389520" y="172352"/>
                  <a:pt x="1365564" y="160882"/>
                  <a:pt x="1326777" y="147953"/>
                </a:cubicBezTo>
                <a:cubicBezTo>
                  <a:pt x="1283737" y="133606"/>
                  <a:pt x="1239679" y="122401"/>
                  <a:pt x="1196789" y="107611"/>
                </a:cubicBezTo>
                <a:cubicBezTo>
                  <a:pt x="1134164" y="86016"/>
                  <a:pt x="965540" y="14009"/>
                  <a:pt x="905436" y="9000"/>
                </a:cubicBezTo>
                <a:lnTo>
                  <a:pt x="851648" y="4517"/>
                </a:lnTo>
                <a:cubicBezTo>
                  <a:pt x="811307" y="8999"/>
                  <a:pt x="770330" y="9541"/>
                  <a:pt x="730624" y="17964"/>
                </a:cubicBezTo>
                <a:cubicBezTo>
                  <a:pt x="720084" y="20200"/>
                  <a:pt x="717177" y="782"/>
                  <a:pt x="708212" y="35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48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E6A51B-7543-16CE-4330-1C71F521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97FE9-A1CE-C077-0A08-7C9D7942C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0149522" cy="492443"/>
          </a:xfrm>
        </p:spPr>
        <p:txBody>
          <a:bodyPr/>
          <a:lstStyle/>
          <a:p>
            <a:r>
              <a:rPr lang="en-US" dirty="0"/>
              <a:t>Part 2: Model Application – Troubleshoot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A87638-9035-5BA2-6604-1751E84A6DCC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5B2B5F-39A0-C445-D709-A606AA5A6946}"/>
              </a:ext>
            </a:extLst>
          </p:cNvPr>
          <p:cNvSpPr txBox="1"/>
          <p:nvPr/>
        </p:nvSpPr>
        <p:spPr>
          <a:xfrm>
            <a:off x="200497" y="1257343"/>
            <a:ext cx="358173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Under design conditions on gas day 2/3/23, actual SCADA pressures at the inlet to station R364 differed by nearly 11 </a:t>
            </a:r>
            <a:r>
              <a:rPr lang="en-US" dirty="0" err="1"/>
              <a:t>psig</a:t>
            </a:r>
            <a:r>
              <a:rPr lang="en-US" dirty="0"/>
              <a:t> from predicted </a:t>
            </a:r>
            <a:r>
              <a:rPr lang="en-US" dirty="0" err="1"/>
              <a:t>Synergi</a:t>
            </a:r>
            <a:r>
              <a:rPr lang="en-US" dirty="0"/>
              <a:t> model pressures. </a:t>
            </a:r>
          </a:p>
          <a:p>
            <a:pPr>
              <a:spcAft>
                <a:spcPts val="600"/>
              </a:spcAft>
            </a:pPr>
            <a:r>
              <a:rPr lang="en-US" dirty="0"/>
              <a:t>Actual versus predicted inlet pressures at upstream station R384 differed by only 2 </a:t>
            </a:r>
            <a:r>
              <a:rPr lang="en-US" dirty="0" err="1"/>
              <a:t>psig</a:t>
            </a: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dirty="0"/>
              <a:t>Follow flow path…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estriction in lateral?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naccurate loading in model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ny recent in progress or completed work in GIS?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DBDD051-9A1E-98A6-ACD4-187686B0B70F}"/>
              </a:ext>
            </a:extLst>
          </p:cNvPr>
          <p:cNvCxnSpPr>
            <a:cxnSpLocks/>
          </p:cNvCxnSpPr>
          <p:nvPr/>
        </p:nvCxnSpPr>
        <p:spPr>
          <a:xfrm flipH="1" flipV="1">
            <a:off x="10103224" y="2613212"/>
            <a:ext cx="257700" cy="413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1E5574A-89EE-FB03-D64C-C672FC6323EE}"/>
              </a:ext>
            </a:extLst>
          </p:cNvPr>
          <p:cNvSpPr txBox="1"/>
          <p:nvPr/>
        </p:nvSpPr>
        <p:spPr>
          <a:xfrm>
            <a:off x="9729230" y="3059668"/>
            <a:ext cx="115581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CADA:</a:t>
            </a:r>
          </a:p>
          <a:p>
            <a:r>
              <a:rPr lang="en-US" dirty="0"/>
              <a:t>50 </a:t>
            </a:r>
            <a:r>
              <a:rPr lang="en-US" dirty="0" err="1"/>
              <a:t>psig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6F3FF0F-922E-B893-047E-11DEAD8DFD53}"/>
              </a:ext>
            </a:extLst>
          </p:cNvPr>
          <p:cNvCxnSpPr>
            <a:cxnSpLocks/>
          </p:cNvCxnSpPr>
          <p:nvPr/>
        </p:nvCxnSpPr>
        <p:spPr>
          <a:xfrm flipH="1">
            <a:off x="8862123" y="5365461"/>
            <a:ext cx="50785" cy="330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B3B10E6-F34D-305B-64AA-0DB5ADA76B97}"/>
              </a:ext>
            </a:extLst>
          </p:cNvPr>
          <p:cNvSpPr txBox="1"/>
          <p:nvPr/>
        </p:nvSpPr>
        <p:spPr>
          <a:xfrm>
            <a:off x="8673863" y="4719130"/>
            <a:ext cx="124110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CADA:</a:t>
            </a:r>
          </a:p>
          <a:p>
            <a:r>
              <a:rPr lang="en-US" dirty="0"/>
              <a:t>26 </a:t>
            </a:r>
            <a:r>
              <a:rPr lang="en-US" dirty="0" err="1"/>
              <a:t>psig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6DB204-8478-D943-D335-B7C8934029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7201" y="904650"/>
            <a:ext cx="7390354" cy="560269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4AF097-D45E-0C19-1E4C-CB7C060B4698}"/>
              </a:ext>
            </a:extLst>
          </p:cNvPr>
          <p:cNvSpPr txBox="1"/>
          <p:nvPr/>
        </p:nvSpPr>
        <p:spPr>
          <a:xfrm>
            <a:off x="8199703" y="936990"/>
            <a:ext cx="2793162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84</a:t>
            </a:r>
          </a:p>
          <a:p>
            <a:r>
              <a:rPr lang="en-US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.2 </a:t>
            </a:r>
            <a:r>
              <a:rPr lang="en-US" sz="1400" b="1" i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22.5 </a:t>
            </a:r>
            <a:r>
              <a:rPr lang="en-US" sz="1400" b="1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6E55DC6-DCE2-6A79-48F4-47575A2697A4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7019830" y="1306322"/>
            <a:ext cx="1179873" cy="1524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2F2CD9C-5D15-E64B-7FFF-E8E86D32712A}"/>
              </a:ext>
            </a:extLst>
          </p:cNvPr>
          <p:cNvSpPr txBox="1"/>
          <p:nvPr/>
        </p:nvSpPr>
        <p:spPr>
          <a:xfrm>
            <a:off x="4397135" y="4349798"/>
            <a:ext cx="2814137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64 </a:t>
            </a:r>
          </a:p>
          <a:p>
            <a:r>
              <a:rPr lang="en-US" sz="1400" i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9.0 </a:t>
            </a:r>
            <a:r>
              <a:rPr lang="en-US" sz="1400" b="1" i="1" kern="100" dirty="0" err="1">
                <a:solidFill>
                  <a:srgbClr val="FF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solidFill>
                <a:srgbClr val="FF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solidFill>
                  <a:srgbClr val="FF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19.6 </a:t>
            </a:r>
            <a:r>
              <a:rPr lang="en-US" sz="1400" b="1" i="1" kern="100" dirty="0" err="1">
                <a:solidFill>
                  <a:srgbClr val="FF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>
              <a:solidFill>
                <a:srgbClr val="FF0000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F992CCF-0082-C3AC-99DD-E1266DAFCB33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7211272" y="4719130"/>
            <a:ext cx="2182762" cy="138403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7539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73988-1DCD-2D06-CD7C-A8F40B0F0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95656-2B2C-B1A2-5165-0AEC2F0F72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0149522" cy="492443"/>
          </a:xfrm>
        </p:spPr>
        <p:txBody>
          <a:bodyPr/>
          <a:lstStyle/>
          <a:p>
            <a:r>
              <a:rPr lang="en-US" dirty="0"/>
              <a:t>Part 2: Model Application – Troubleshoot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76FA00-A666-8AB8-20CF-B8A1ED1FFD73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E5786FB-85D1-3021-B817-EDA71F7AF84A}"/>
              </a:ext>
            </a:extLst>
          </p:cNvPr>
          <p:cNvCxnSpPr>
            <a:cxnSpLocks/>
          </p:cNvCxnSpPr>
          <p:nvPr/>
        </p:nvCxnSpPr>
        <p:spPr>
          <a:xfrm flipH="1" flipV="1">
            <a:off x="10103224" y="2613212"/>
            <a:ext cx="257700" cy="413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F7DDF60-6F5C-DD5C-401E-15142E6B7BB3}"/>
              </a:ext>
            </a:extLst>
          </p:cNvPr>
          <p:cNvSpPr txBox="1"/>
          <p:nvPr/>
        </p:nvSpPr>
        <p:spPr>
          <a:xfrm>
            <a:off x="9729230" y="3059668"/>
            <a:ext cx="115581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CADA:</a:t>
            </a:r>
          </a:p>
          <a:p>
            <a:r>
              <a:rPr lang="en-US" dirty="0"/>
              <a:t>50 </a:t>
            </a:r>
            <a:r>
              <a:rPr lang="en-US" dirty="0" err="1"/>
              <a:t>psig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B5A2CE9-5C7E-5805-7EB5-62BA1E97D96A}"/>
              </a:ext>
            </a:extLst>
          </p:cNvPr>
          <p:cNvCxnSpPr>
            <a:cxnSpLocks/>
          </p:cNvCxnSpPr>
          <p:nvPr/>
        </p:nvCxnSpPr>
        <p:spPr>
          <a:xfrm flipH="1">
            <a:off x="8862123" y="5365461"/>
            <a:ext cx="50785" cy="330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A7E56AB-928A-F607-AC5B-69E863A80A05}"/>
              </a:ext>
            </a:extLst>
          </p:cNvPr>
          <p:cNvSpPr txBox="1"/>
          <p:nvPr/>
        </p:nvSpPr>
        <p:spPr>
          <a:xfrm>
            <a:off x="8673863" y="4719130"/>
            <a:ext cx="124110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CADA:</a:t>
            </a:r>
          </a:p>
          <a:p>
            <a:r>
              <a:rPr lang="en-US" dirty="0"/>
              <a:t>26 </a:t>
            </a:r>
            <a:r>
              <a:rPr lang="en-US" dirty="0" err="1"/>
              <a:t>psig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097CE9-ED07-018D-D271-3D95A7708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7201" y="904650"/>
            <a:ext cx="7390354" cy="560269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105F6FD-1DD7-18C0-50FB-49AE141B8B2F}"/>
              </a:ext>
            </a:extLst>
          </p:cNvPr>
          <p:cNvSpPr txBox="1"/>
          <p:nvPr/>
        </p:nvSpPr>
        <p:spPr>
          <a:xfrm>
            <a:off x="8199703" y="936990"/>
            <a:ext cx="2793162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84</a:t>
            </a:r>
          </a:p>
          <a:p>
            <a:r>
              <a:rPr lang="en-US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.2 </a:t>
            </a:r>
            <a:r>
              <a:rPr lang="en-US" sz="1400" b="1" i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22.5 </a:t>
            </a:r>
            <a:r>
              <a:rPr lang="en-US" sz="1400" b="1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00911E8-0484-E2FD-70FE-42D21C8D4BF6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7019830" y="1306322"/>
            <a:ext cx="1179873" cy="1524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BE18EB3-1821-76B8-F6B8-4FF1F45A589B}"/>
              </a:ext>
            </a:extLst>
          </p:cNvPr>
          <p:cNvSpPr txBox="1"/>
          <p:nvPr/>
        </p:nvSpPr>
        <p:spPr>
          <a:xfrm>
            <a:off x="4397135" y="4349798"/>
            <a:ext cx="2814137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64 </a:t>
            </a:r>
          </a:p>
          <a:p>
            <a:r>
              <a:rPr lang="en-US" sz="1400" i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9.0 </a:t>
            </a:r>
            <a:r>
              <a:rPr lang="en-US" sz="1400" b="1" i="1" kern="100" dirty="0" err="1">
                <a:solidFill>
                  <a:srgbClr val="FF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solidFill>
                <a:srgbClr val="FF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solidFill>
                  <a:srgbClr val="FF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19.6 </a:t>
            </a:r>
            <a:r>
              <a:rPr lang="en-US" sz="1400" b="1" i="1" kern="100" dirty="0" err="1">
                <a:solidFill>
                  <a:srgbClr val="FF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>
              <a:solidFill>
                <a:srgbClr val="FF0000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B7E7FDB-4C97-366C-06F4-97CE1B31D421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7211272" y="4719130"/>
            <a:ext cx="2182762" cy="138403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0C4426B-B32F-4D7A-5DB4-E2CF8794E58C}"/>
              </a:ext>
            </a:extLst>
          </p:cNvPr>
          <p:cNvSpPr txBox="1"/>
          <p:nvPr/>
        </p:nvSpPr>
        <p:spPr>
          <a:xfrm>
            <a:off x="294468" y="1649406"/>
            <a:ext cx="3408252" cy="25853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u="sng" dirty="0"/>
              <a:t>Narrowed area of concern: </a:t>
            </a:r>
          </a:p>
          <a:p>
            <a:r>
              <a:rPr lang="en-US" dirty="0"/>
              <a:t>8in PL bottleneck between two 12in PL segments with several valves and 90-deg elbows.</a:t>
            </a:r>
          </a:p>
          <a:p>
            <a:endParaRPr lang="en-US" dirty="0"/>
          </a:p>
          <a:p>
            <a:r>
              <a:rPr lang="en-US" dirty="0"/>
              <a:t>Valve checks were requested for the three valves in this cluster and all were thought to be in the open position.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3049286-346D-36B7-EB58-5B21E76F7D51}"/>
              </a:ext>
            </a:extLst>
          </p:cNvPr>
          <p:cNvSpPr/>
          <p:nvPr/>
        </p:nvSpPr>
        <p:spPr>
          <a:xfrm rot="20580496">
            <a:off x="7166048" y="2964894"/>
            <a:ext cx="195367" cy="26212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1452117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A922A-7CA6-A6C8-7AC2-DE4C97B11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74736-CF2E-E28A-8BDD-8F02CF64EF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0149522" cy="492443"/>
          </a:xfrm>
        </p:spPr>
        <p:txBody>
          <a:bodyPr/>
          <a:lstStyle/>
          <a:p>
            <a:r>
              <a:rPr lang="en-US" dirty="0"/>
              <a:t>Part 2: Model Application – Troubleshooting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AED813-67DE-8A33-BCC2-4C85FA861037}"/>
              </a:ext>
            </a:extLst>
          </p:cNvPr>
          <p:cNvSpPr txBox="1"/>
          <p:nvPr/>
        </p:nvSpPr>
        <p:spPr>
          <a:xfrm>
            <a:off x="276650" y="1648900"/>
            <a:ext cx="3408252" cy="36933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Requested I&amp;R install Winter Telescada points on the north and south sides of the suspected problem area</a:t>
            </a:r>
          </a:p>
          <a:p>
            <a:endParaRPr lang="en-US" dirty="0"/>
          </a:p>
          <a:p>
            <a:r>
              <a:rPr lang="en-US" dirty="0"/>
              <a:t>Due to main configuration, camera inspection would not be feasible through all valves and fittings</a:t>
            </a:r>
          </a:p>
          <a:p>
            <a:endParaRPr lang="en-US" dirty="0"/>
          </a:p>
          <a:p>
            <a:r>
              <a:rPr lang="en-US" dirty="0"/>
              <a:t>Relocated northern point several times during the winter to narrow the area of concer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B521D8-511D-3778-3BCD-77E43E0301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9873" y="735379"/>
            <a:ext cx="7214847" cy="612262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1BA6C50-0CCD-FF59-A217-9B30ADBFDB3A}"/>
              </a:ext>
            </a:extLst>
          </p:cNvPr>
          <p:cNvSpPr txBox="1"/>
          <p:nvPr/>
        </p:nvSpPr>
        <p:spPr>
          <a:xfrm>
            <a:off x="9055683" y="1086475"/>
            <a:ext cx="1727680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TS 1a</a:t>
            </a:r>
          </a:p>
          <a:p>
            <a:pPr algn="ctr"/>
            <a:r>
              <a:rPr lang="en-US" sz="1400" i="1" dirty="0"/>
              <a:t>Expected press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C962E4F-4D66-A462-93C9-B91F4316E7DD}"/>
              </a:ext>
            </a:extLst>
          </p:cNvPr>
          <p:cNvSpPr txBox="1"/>
          <p:nvPr/>
        </p:nvSpPr>
        <p:spPr>
          <a:xfrm>
            <a:off x="8565675" y="6331814"/>
            <a:ext cx="2707696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TS 2</a:t>
            </a:r>
          </a:p>
          <a:p>
            <a:pPr algn="ctr"/>
            <a:r>
              <a:rPr lang="en-US" sz="1400" i="1" dirty="0"/>
              <a:t>Much lower pressur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FD69135-DC98-1888-0059-C93CC0AA1B3D}"/>
              </a:ext>
            </a:extLst>
          </p:cNvPr>
          <p:cNvSpPr/>
          <p:nvPr/>
        </p:nvSpPr>
        <p:spPr>
          <a:xfrm rot="20580496">
            <a:off x="7707793" y="4383270"/>
            <a:ext cx="678426" cy="943897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7015729-DA38-F751-534C-372DC5B4147B}"/>
              </a:ext>
            </a:extLst>
          </p:cNvPr>
          <p:cNvSpPr txBox="1"/>
          <p:nvPr/>
        </p:nvSpPr>
        <p:spPr>
          <a:xfrm>
            <a:off x="6150283" y="4220185"/>
            <a:ext cx="145499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Area of concer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FB42AD-473B-0C1C-910A-6E04153397A1}"/>
              </a:ext>
            </a:extLst>
          </p:cNvPr>
          <p:cNvSpPr txBox="1"/>
          <p:nvPr/>
        </p:nvSpPr>
        <p:spPr>
          <a:xfrm>
            <a:off x="8960938" y="3636744"/>
            <a:ext cx="1665067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TS 1b</a:t>
            </a:r>
          </a:p>
          <a:p>
            <a:pPr algn="ctr"/>
            <a:r>
              <a:rPr lang="en-US" sz="1400" i="1" dirty="0"/>
              <a:t>Expected pressu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2507A72-67CA-9806-1712-8E326EB89E46}"/>
              </a:ext>
            </a:extLst>
          </p:cNvPr>
          <p:cNvSpPr/>
          <p:nvPr/>
        </p:nvSpPr>
        <p:spPr>
          <a:xfrm>
            <a:off x="8853027" y="1629903"/>
            <a:ext cx="243840" cy="23621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69C2F47-332B-41AD-340B-E4AA9D7CEA1D}"/>
              </a:ext>
            </a:extLst>
          </p:cNvPr>
          <p:cNvSpPr/>
          <p:nvPr/>
        </p:nvSpPr>
        <p:spPr>
          <a:xfrm>
            <a:off x="8265491" y="6262181"/>
            <a:ext cx="243840" cy="23621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A3BE46F-8540-92FF-F549-9E7A61DC1968}"/>
              </a:ext>
            </a:extLst>
          </p:cNvPr>
          <p:cNvSpPr/>
          <p:nvPr/>
        </p:nvSpPr>
        <p:spPr>
          <a:xfrm>
            <a:off x="8661542" y="4068524"/>
            <a:ext cx="243840" cy="23621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35B631-8268-D15E-37A1-7D8605E875CA}"/>
              </a:ext>
            </a:extLst>
          </p:cNvPr>
          <p:cNvSpPr txBox="1"/>
          <p:nvPr/>
        </p:nvSpPr>
        <p:spPr>
          <a:xfrm>
            <a:off x="5047638" y="5238417"/>
            <a:ext cx="1849898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TS 1c</a:t>
            </a:r>
          </a:p>
          <a:p>
            <a:pPr algn="ctr"/>
            <a:r>
              <a:rPr lang="en-US" sz="1400" i="1" dirty="0"/>
              <a:t>Expected pressur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A2EAB36-2AD0-94C0-8FC1-F60A3827FEAC}"/>
              </a:ext>
            </a:extLst>
          </p:cNvPr>
          <p:cNvSpPr/>
          <p:nvPr/>
        </p:nvSpPr>
        <p:spPr>
          <a:xfrm>
            <a:off x="6755858" y="4952276"/>
            <a:ext cx="243840" cy="23621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7571366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CCC17-72FE-0D28-D105-F5256B5252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724F0-05B8-8788-C424-5ADF587D6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0149522" cy="492443"/>
          </a:xfrm>
        </p:spPr>
        <p:txBody>
          <a:bodyPr/>
          <a:lstStyle/>
          <a:p>
            <a:r>
              <a:rPr lang="en-US" dirty="0"/>
              <a:t>Part 2: Model Application – Troubleshooting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23AF9-9EEF-BD3C-2EDA-158070A84C4C}"/>
              </a:ext>
            </a:extLst>
          </p:cNvPr>
          <p:cNvSpPr txBox="1"/>
          <p:nvPr/>
        </p:nvSpPr>
        <p:spPr>
          <a:xfrm>
            <a:off x="306578" y="1353073"/>
            <a:ext cx="4252271" cy="42165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Camera inspection scheduled in the spring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Main clear north of insertion point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Camera located a </a:t>
            </a:r>
            <a:r>
              <a:rPr lang="en-US" sz="1600" b="1" dirty="0"/>
              <a:t>fully closed</a:t>
            </a:r>
            <a:r>
              <a:rPr lang="en-US" sz="1600" dirty="0"/>
              <a:t> 12in PL 25 </a:t>
            </a:r>
            <a:r>
              <a:rPr lang="en-US" sz="1600" dirty="0" err="1"/>
              <a:t>psig</a:t>
            </a:r>
            <a:r>
              <a:rPr lang="en-US" sz="1600" dirty="0"/>
              <a:t> valve south of insertion point</a:t>
            </a:r>
          </a:p>
          <a:p>
            <a:pPr>
              <a:spcAft>
                <a:spcPts val="1200"/>
              </a:spcAft>
            </a:pPr>
            <a:r>
              <a:rPr lang="en-US" sz="1600" dirty="0"/>
              <a:t>Crew contacted Gas Control and reopened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u="sng" dirty="0"/>
              <a:t>Root causes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May have been left open since main installation was completed in 2014, issue exacerbated by extreme col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uld have been closed during maintenanc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naccurate records/mapp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5DE810-85DE-C7C2-EF5C-E834DE7A6A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217" y="990600"/>
            <a:ext cx="6688991" cy="58674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A4AD2A2-77CD-8BD2-BFFA-5231845553C7}"/>
              </a:ext>
            </a:extLst>
          </p:cNvPr>
          <p:cNvSpPr/>
          <p:nvPr/>
        </p:nvSpPr>
        <p:spPr>
          <a:xfrm rot="20580496">
            <a:off x="8633577" y="5026873"/>
            <a:ext cx="330625" cy="32323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B20FAC-2312-BCCA-8A9B-02068E488EC5}"/>
              </a:ext>
            </a:extLst>
          </p:cNvPr>
          <p:cNvSpPr txBox="1"/>
          <p:nvPr/>
        </p:nvSpPr>
        <p:spPr>
          <a:xfrm>
            <a:off x="5486400" y="5290475"/>
            <a:ext cx="310716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12in PL valve found closed here!!!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A951765-A8FA-1F9F-5A55-3FCFA6A00E00}"/>
              </a:ext>
            </a:extLst>
          </p:cNvPr>
          <p:cNvSpPr/>
          <p:nvPr/>
        </p:nvSpPr>
        <p:spPr>
          <a:xfrm rot="20580496">
            <a:off x="8296637" y="4510741"/>
            <a:ext cx="603573" cy="462504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19000C-971A-8CEF-0110-1EE9791EEA19}"/>
              </a:ext>
            </a:extLst>
          </p:cNvPr>
          <p:cNvSpPr txBox="1"/>
          <p:nvPr/>
        </p:nvSpPr>
        <p:spPr>
          <a:xfrm>
            <a:off x="8798888" y="4122398"/>
            <a:ext cx="215867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Camera inserted here</a:t>
            </a:r>
          </a:p>
        </p:txBody>
      </p:sp>
      <p:pic>
        <p:nvPicPr>
          <p:cNvPr id="10" name="Picture 9" descr="A small black television with a blue circle on the screen&#10;&#10;AI-generated content may be incorrect.">
            <a:extLst>
              <a:ext uri="{FF2B5EF4-FFF2-40B4-BE49-F238E27FC236}">
                <a16:creationId xmlns:a16="http://schemas.microsoft.com/office/drawing/2014/main" id="{D0EB52F0-2DCE-0343-DE26-3316D0BF00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32" t="12013" r="5776" b="7606"/>
          <a:stretch/>
        </p:blipFill>
        <p:spPr>
          <a:xfrm>
            <a:off x="5034498" y="1173567"/>
            <a:ext cx="3030085" cy="2255433"/>
          </a:xfrm>
          <a:prstGeom prst="rect">
            <a:avLst/>
          </a:prstGeom>
        </p:spPr>
      </p:pic>
      <p:pic>
        <p:nvPicPr>
          <p:cNvPr id="6" name="Picture 5" descr="A close-up of a computer screen&#10;&#10;AI-generated content may be incorrect.">
            <a:extLst>
              <a:ext uri="{FF2B5EF4-FFF2-40B4-BE49-F238E27FC236}">
                <a16:creationId xmlns:a16="http://schemas.microsoft.com/office/drawing/2014/main" id="{C7D203A6-8EB1-FD78-5318-7C31123BB5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061" y="1173567"/>
            <a:ext cx="3030085" cy="227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16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677276"/>
            <a:ext cx="6079796" cy="2205732"/>
          </a:xfrm>
        </p:spPr>
        <p:txBody>
          <a:bodyPr/>
          <a:lstStyle/>
          <a:p>
            <a:r>
              <a:rPr lang="en-US" sz="1800" b="1" dirty="0"/>
              <a:t>Part 1: Model Development and Software Overview</a:t>
            </a:r>
          </a:p>
          <a:p>
            <a:r>
              <a:rPr lang="en-US" sz="1800" b="0" dirty="0"/>
              <a:t>DNV GL - Synergy Gas Steady State</a:t>
            </a:r>
          </a:p>
          <a:p>
            <a:r>
              <a:rPr lang="en-US" sz="1800" b="0" dirty="0"/>
              <a:t>Customer Management Module</a:t>
            </a:r>
            <a:endParaRPr lang="en-US" sz="1800" dirty="0"/>
          </a:p>
          <a:p>
            <a:r>
              <a:rPr lang="en-US" sz="1800" b="1" dirty="0"/>
              <a:t>Part 2: Using the Model </a:t>
            </a:r>
          </a:p>
          <a:p>
            <a:r>
              <a:rPr lang="en-US" sz="1800" b="0" dirty="0"/>
              <a:t>Various ways to apply model dat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B0BE8C-5DAD-B45D-2B64-39331073421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791" r="5379"/>
          <a:stretch>
            <a:fillRect/>
          </a:stretch>
        </p:blipFill>
        <p:spPr>
          <a:xfrm>
            <a:off x="6000824" y="1275248"/>
            <a:ext cx="5896708" cy="390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932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AFDB6-5A35-64A1-02F4-B815971BD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A3855-BF9E-79B7-0A20-FC3F7FA566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10149522" cy="492443"/>
          </a:xfrm>
        </p:spPr>
        <p:txBody>
          <a:bodyPr/>
          <a:lstStyle/>
          <a:p>
            <a:r>
              <a:rPr lang="en-US" dirty="0"/>
              <a:t>Part 2: Model Application – Troubleshooting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6B233-5817-23E9-316D-2E41D2DA7F72}"/>
              </a:ext>
            </a:extLst>
          </p:cNvPr>
          <p:cNvSpPr txBox="1"/>
          <p:nvPr/>
        </p:nvSpPr>
        <p:spPr>
          <a:xfrm>
            <a:off x="294468" y="1058544"/>
            <a:ext cx="3774613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Modeled closed valve in </a:t>
            </a:r>
            <a:r>
              <a:rPr lang="en-US" dirty="0" err="1"/>
              <a:t>Synergi</a:t>
            </a:r>
            <a:r>
              <a:rPr lang="en-US" dirty="0"/>
              <a:t> once condition was field-verified.</a:t>
            </a:r>
          </a:p>
          <a:p>
            <a:endParaRPr lang="en-US" dirty="0"/>
          </a:p>
          <a:p>
            <a:r>
              <a:rPr lang="en-US" dirty="0"/>
              <a:t>Difference between SCADA and </a:t>
            </a:r>
            <a:r>
              <a:rPr lang="en-US" dirty="0" err="1"/>
              <a:t>Synergi</a:t>
            </a:r>
            <a:r>
              <a:rPr lang="en-US" dirty="0"/>
              <a:t> predicted pressures is now only 1 </a:t>
            </a:r>
            <a:r>
              <a:rPr lang="en-US" dirty="0" err="1"/>
              <a:t>psig</a:t>
            </a:r>
            <a:r>
              <a:rPr lang="en-US" dirty="0"/>
              <a:t>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932C21-93FE-E797-B31E-F32709F847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120" r="9682"/>
          <a:stretch/>
        </p:blipFill>
        <p:spPr>
          <a:xfrm>
            <a:off x="4324517" y="967104"/>
            <a:ext cx="7174857" cy="567951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91E6E7F-FA27-9454-393F-3974A34E133C}"/>
              </a:ext>
            </a:extLst>
          </p:cNvPr>
          <p:cNvSpPr txBox="1"/>
          <p:nvPr/>
        </p:nvSpPr>
        <p:spPr>
          <a:xfrm>
            <a:off x="7779629" y="1855379"/>
            <a:ext cx="2898863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84</a:t>
            </a:r>
          </a:p>
          <a:p>
            <a:r>
              <a:rPr lang="en-US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.2 </a:t>
            </a:r>
            <a:r>
              <a:rPr lang="en-US" sz="1400" b="1" i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21.3 </a:t>
            </a:r>
            <a:r>
              <a:rPr lang="en-US" sz="1400" b="1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2E3328B-876A-7693-75E2-090A9E43D3BC}"/>
              </a:ext>
            </a:extLst>
          </p:cNvPr>
          <p:cNvCxnSpPr>
            <a:cxnSpLocks/>
          </p:cNvCxnSpPr>
          <p:nvPr/>
        </p:nvCxnSpPr>
        <p:spPr>
          <a:xfrm flipH="1" flipV="1">
            <a:off x="7297849" y="1058544"/>
            <a:ext cx="481781" cy="11200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4094598-EFEA-871F-68BD-2975E31B6321}"/>
              </a:ext>
            </a:extLst>
          </p:cNvPr>
          <p:cNvSpPr txBox="1"/>
          <p:nvPr/>
        </p:nvSpPr>
        <p:spPr>
          <a:xfrm>
            <a:off x="4997423" y="4356292"/>
            <a:ext cx="2898864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u="sng" dirty="0"/>
              <a:t>Inlet to R</a:t>
            </a:r>
            <a:r>
              <a:rPr lang="en-US" sz="1400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64 </a:t>
            </a:r>
          </a:p>
          <a:p>
            <a:r>
              <a:rPr lang="en-US" sz="1400" i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ADA Pressure: </a:t>
            </a:r>
            <a:r>
              <a:rPr lang="en-US" sz="1400" b="1" i="1" kern="100" dirty="0">
                <a:solidFill>
                  <a:schemeClr val="accent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9.0 </a:t>
            </a:r>
            <a:r>
              <a:rPr lang="en-US" sz="1400" b="1" i="1" kern="100" dirty="0" err="1">
                <a:solidFill>
                  <a:schemeClr val="accent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kern="100" dirty="0">
              <a:solidFill>
                <a:schemeClr val="accent6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1400" i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Synergi</a:t>
            </a:r>
            <a:r>
              <a:rPr lang="en-US" sz="1400" i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 Model Pressure: </a:t>
            </a:r>
            <a:r>
              <a:rPr lang="en-US" sz="1400" b="1" i="1" kern="100" dirty="0">
                <a:solidFill>
                  <a:schemeClr val="accent6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10.2 </a:t>
            </a:r>
            <a:r>
              <a:rPr lang="en-US" sz="1400" b="1" i="1" kern="100" dirty="0" err="1">
                <a:solidFill>
                  <a:schemeClr val="accent6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psig</a:t>
            </a:r>
            <a:endParaRPr lang="en-US" sz="1400" b="1" i="1" dirty="0">
              <a:solidFill>
                <a:schemeClr val="accent6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708A3AC-C1AA-0076-9987-A38AF5725333}"/>
              </a:ext>
            </a:extLst>
          </p:cNvPr>
          <p:cNvCxnSpPr>
            <a:cxnSpLocks/>
          </p:cNvCxnSpPr>
          <p:nvPr/>
        </p:nvCxnSpPr>
        <p:spPr>
          <a:xfrm>
            <a:off x="7896287" y="4679457"/>
            <a:ext cx="823799" cy="179698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59613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7" y="242936"/>
            <a:ext cx="11493581" cy="492443"/>
          </a:xfrm>
        </p:spPr>
        <p:txBody>
          <a:bodyPr/>
          <a:lstStyle/>
          <a:p>
            <a:r>
              <a:rPr lang="en-US" dirty="0" err="1"/>
              <a:t>Synergi’s</a:t>
            </a:r>
            <a:r>
              <a:rPr lang="en-US" dirty="0"/>
              <a:t> Relationship with Gas Depart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830997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98D33A-A00B-3223-5CB7-18A0DF7685AC}"/>
              </a:ext>
            </a:extLst>
          </p:cNvPr>
          <p:cNvSpPr txBox="1"/>
          <p:nvPr/>
        </p:nvSpPr>
        <p:spPr>
          <a:xfrm>
            <a:off x="294467" y="814009"/>
            <a:ext cx="12080251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ordination, communication, &amp; support with other all parts of the gas business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a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 &amp; 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eld 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as Supply &amp; Procur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ad Forecasting (data &amp; analytic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set Management &amp; Design Engineering (Sizing, scoping, future planning, risk assessments, prioritiz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ource Planning, Work 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ublic 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liance &amp; Safety (Critical Valves, mandated program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urisdiction (Communication to customers on need for certain projects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 (growth project revie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patch – (Emergency Respon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ter Data Services (customer usage revie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pping (Corrections, GIS extrac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ance/Budgeting (Asset Manag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lectric Utility – (Power Gen supply, growth, electrification studies, rolling blackout issues on LP gas system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ture of Heat/ Act on Climate (hydrogen blending, RNG, segment decommissioning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342900" indent="-342900">
              <a:buAutoNum type="arabicParenR"/>
            </a:pPr>
            <a:endParaRPr lang="en-US" dirty="0"/>
          </a:p>
          <a:p>
            <a:pPr marL="342900" indent="-342900">
              <a:buAutoNum type="arabicParenR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8944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902524"/>
            <a:ext cx="10972800" cy="5955476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sz="1800" dirty="0"/>
              <a:t>Other Synergy Gas Modul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Steady State (Typical LDC application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ompressor Sta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Unsteady State (Transient) (Typical Transmission application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Regulator Station Module (relief valves, reg failure, overpressure protection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Area Isolation Module (AIM) – critical valve program</a:t>
            </a:r>
          </a:p>
          <a:p>
            <a:pPr>
              <a:spcAft>
                <a:spcPts val="300"/>
              </a:spcAft>
            </a:pPr>
            <a:endParaRPr lang="en-US" sz="1800" b="0" dirty="0"/>
          </a:p>
          <a:p>
            <a:pPr>
              <a:spcAft>
                <a:spcPts val="300"/>
              </a:spcAft>
            </a:pPr>
            <a:r>
              <a:rPr lang="en-US" sz="1800" dirty="0"/>
              <a:t>External Training </a:t>
            </a:r>
            <a:r>
              <a:rPr lang="en-US" sz="1800" b="0" dirty="0"/>
              <a:t>– DNV GL Synergy Training classes (basic, advanced, module-specific, etc.)</a:t>
            </a:r>
          </a:p>
          <a:p>
            <a:pPr>
              <a:spcAft>
                <a:spcPts val="300"/>
              </a:spcAft>
            </a:pPr>
            <a:endParaRPr lang="en-US" sz="1800" b="0" dirty="0"/>
          </a:p>
          <a:p>
            <a:pPr>
              <a:spcAft>
                <a:spcPts val="300"/>
              </a:spcAft>
            </a:pPr>
            <a:r>
              <a:rPr lang="en-US" sz="1800" dirty="0"/>
              <a:t>Common Issues for Awarenes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omplacency/inattention to detail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Lack of communication across department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Lack of understanding system opera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Lack of knowledge in standards, policy, code &amp; procedure document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System Design Criteria with gray area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Poor data!!! (our models are only as good as the data we get)</a:t>
            </a:r>
          </a:p>
          <a:p>
            <a:pPr>
              <a:spcAft>
                <a:spcPts val="300"/>
              </a:spcAft>
            </a:pPr>
            <a:endParaRPr lang="en-US" sz="1800" b="0" dirty="0"/>
          </a:p>
          <a:p>
            <a:pPr>
              <a:spcAft>
                <a:spcPts val="300"/>
              </a:spcAft>
            </a:pPr>
            <a:endParaRPr lang="en-US" sz="1800" b="0" dirty="0"/>
          </a:p>
          <a:p>
            <a:pPr>
              <a:spcAft>
                <a:spcPts val="300"/>
              </a:spcAft>
            </a:pP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2887092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2B858A-C8CE-DC3C-4294-4B1D0553A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E8A5A-7220-B59C-D49F-0D5FB94337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Development -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DA0874-6802-9F65-C482-D578D09A1A36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043708"/>
            <a:ext cx="10077446" cy="52322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dirty="0"/>
              <a:t>GIS Extract of Facilities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“Skeleton Model”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“Dummy Loads” 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Reg stations, valves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Node allocation, Supply Points</a:t>
            </a:r>
          </a:p>
          <a:p>
            <a:pPr>
              <a:spcAft>
                <a:spcPts val="600"/>
              </a:spcAft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dirty="0"/>
              <a:t>Customer Data Extract 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Customer information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Load Usage &amp; meter location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Base factor, heating co-efficie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Historical use tren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Assigned factor qualit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Large-use customers </a:t>
            </a:r>
          </a:p>
          <a:p>
            <a:pPr>
              <a:spcAft>
                <a:spcPts val="600"/>
              </a:spcAft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b="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841310-A088-C874-60B1-106F11D5D4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12" t="18358" r="19273" b="18253"/>
          <a:stretch>
            <a:fillRect/>
          </a:stretch>
        </p:blipFill>
        <p:spPr>
          <a:xfrm>
            <a:off x="3848099" y="646283"/>
            <a:ext cx="7569201" cy="596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867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743CE83-2ACA-8308-412C-F66B30201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2561" y="559821"/>
            <a:ext cx="3657917" cy="57383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Development - Facil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382603" y="893786"/>
            <a:ext cx="10972800" cy="52322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0" u="sng" dirty="0"/>
              <a:t>Pipes</a:t>
            </a:r>
            <a:r>
              <a:rPr lang="en-US" sz="1800" b="0" dirty="0"/>
              <a:t>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Inside Diameter (ID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Material (efficiency, roughnes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Length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Elevation (if data availabl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Friction Factor standard calc (Colebrook-White equation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ustom Attributes</a:t>
            </a:r>
          </a:p>
          <a:p>
            <a:pPr>
              <a:spcAft>
                <a:spcPts val="600"/>
              </a:spcAft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b="0" dirty="0"/>
              <a:t>Scrub “floating pipes”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Scrub for segments not “snapped” in GIS</a:t>
            </a:r>
          </a:p>
          <a:p>
            <a:pPr>
              <a:spcAft>
                <a:spcPts val="600"/>
              </a:spcAft>
            </a:pPr>
            <a:endParaRPr lang="en-US" sz="1800" b="0" dirty="0"/>
          </a:p>
          <a:p>
            <a:pPr marL="285750" indent="-285750">
              <a:spcAft>
                <a:spcPts val="600"/>
              </a:spcAft>
              <a:buFontTx/>
              <a:buChar char="-"/>
            </a:pPr>
            <a:endParaRPr lang="en-US" sz="1800" b="0" dirty="0"/>
          </a:p>
          <a:p>
            <a:pPr marL="285750" indent="-285750">
              <a:spcAft>
                <a:spcPts val="600"/>
              </a:spcAft>
              <a:buFontTx/>
              <a:buChar char="-"/>
            </a:pPr>
            <a:endParaRPr lang="en-US" sz="1800" b="0" dirty="0"/>
          </a:p>
          <a:p>
            <a:pPr>
              <a:spcAft>
                <a:spcPts val="600"/>
              </a:spcAft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b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108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Development - Facil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674400"/>
            <a:ext cx="3119292" cy="5509200"/>
          </a:xfrm>
        </p:spPr>
        <p:txBody>
          <a:bodyPr/>
          <a:lstStyle/>
          <a:p>
            <a:pPr>
              <a:spcAft>
                <a:spcPts val="600"/>
              </a:spcAft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b="0" u="sng" dirty="0"/>
              <a:t>Regulator Stations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Known / Control Inf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Type of reg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Siz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# of runs (path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Spec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onstant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Outlet Set Point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endParaRPr lang="en-US" sz="1800" b="0" dirty="0"/>
          </a:p>
          <a:p>
            <a:pPr>
              <a:spcAft>
                <a:spcPts val="600"/>
              </a:spcAft>
            </a:pPr>
            <a:r>
              <a:rPr lang="en-US" sz="1800" b="0" dirty="0"/>
              <a:t>Solving for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Utilization 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Flow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Min inlet pressur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Max Flow Rate (capacit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A8C05B-3B27-6101-40AC-86157B718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0" y="1114509"/>
            <a:ext cx="8316132" cy="4882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3D4C74-3045-DB30-ED6A-E2006FF2A6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170" y="747786"/>
            <a:ext cx="7742591" cy="561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08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Development - Facil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257343"/>
            <a:ext cx="10972800" cy="204671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0" u="sng" dirty="0"/>
              <a:t>Valv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Type (check valve, full port, </a:t>
            </a:r>
            <a:r>
              <a:rPr lang="en-US" sz="1800" b="0" dirty="0" err="1"/>
              <a:t>etc</a:t>
            </a:r>
            <a:r>
              <a:rPr lang="en-US" sz="1800" b="0" dirty="0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onstant (</a:t>
            </a:r>
            <a:r>
              <a:rPr lang="en-US" sz="1800" b="0" dirty="0" err="1"/>
              <a:t>scfh</a:t>
            </a:r>
            <a:r>
              <a:rPr lang="en-US" sz="1800" b="0" dirty="0"/>
              <a:t>/psi) = % ope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Normally closed/ope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Bypass valves </a:t>
            </a:r>
          </a:p>
          <a:p>
            <a:pPr>
              <a:spcAft>
                <a:spcPts val="600"/>
              </a:spcAft>
            </a:pPr>
            <a:r>
              <a:rPr lang="en-US" sz="1800" b="0" dirty="0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515191-47B3-BCEA-835E-CE12A8262B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6675" y="861465"/>
            <a:ext cx="7300593" cy="5753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09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8" y="242936"/>
            <a:ext cx="8316132" cy="430887"/>
          </a:xfrm>
        </p:spPr>
        <p:txBody>
          <a:bodyPr/>
          <a:lstStyle/>
          <a:p>
            <a:r>
              <a:rPr lang="en-US" dirty="0"/>
              <a:t>Model Development – Nod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8" y="1104710"/>
            <a:ext cx="10972800" cy="574003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b="0" u="sng" dirty="0"/>
              <a:t>Nodes: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Segments between a facility (from &amp; to nodes)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Known pressure/flow set nodes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Gas composition (source nodes)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Pressure units - Primary (</a:t>
            </a:r>
            <a:r>
              <a:rPr lang="en-US" sz="1600" b="0" dirty="0" err="1"/>
              <a:t>psig</a:t>
            </a:r>
            <a:r>
              <a:rPr lang="en-US" sz="1600" b="0" dirty="0"/>
              <a:t>) or Secondary (</a:t>
            </a:r>
            <a:r>
              <a:rPr lang="en-US" sz="1600" b="0" dirty="0" err="1"/>
              <a:t>inwc</a:t>
            </a:r>
            <a:r>
              <a:rPr lang="en-US" sz="1600" b="0" dirty="0"/>
              <a:t>)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Elevation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XY Coordinates (customer assignment)</a:t>
            </a:r>
          </a:p>
          <a:p>
            <a:pPr>
              <a:spcAft>
                <a:spcPts val="600"/>
              </a:spcAft>
            </a:pPr>
            <a:endParaRPr lang="en-US" sz="1600" b="0" dirty="0"/>
          </a:p>
          <a:p>
            <a:pPr>
              <a:spcAft>
                <a:spcPts val="600"/>
              </a:spcAft>
            </a:pPr>
            <a:r>
              <a:rPr lang="en-US" sz="1600" b="0" u="sng" dirty="0"/>
              <a:t>Supply Nod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City gates/take stat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Storage/L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Control nodes (regs)</a:t>
            </a:r>
          </a:p>
          <a:p>
            <a:pPr>
              <a:spcAft>
                <a:spcPts val="600"/>
              </a:spcAft>
            </a:pPr>
            <a:endParaRPr lang="en-US" sz="1600" b="0" dirty="0"/>
          </a:p>
          <a:p>
            <a:pPr>
              <a:spcAft>
                <a:spcPts val="600"/>
              </a:spcAft>
            </a:pPr>
            <a:r>
              <a:rPr lang="en-US" sz="1600" b="0" u="sng" dirty="0"/>
              <a:t>Demand Nod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Customer data/load profile assigned to nod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Load usage per HDD (flow categories)</a:t>
            </a:r>
          </a:p>
          <a:p>
            <a:pPr>
              <a:spcAft>
                <a:spcPts val="600"/>
              </a:spcAft>
            </a:pPr>
            <a:endParaRPr lang="en-US" sz="1600" b="0" dirty="0"/>
          </a:p>
          <a:p>
            <a:pPr>
              <a:spcAft>
                <a:spcPts val="600"/>
              </a:spcAft>
            </a:pPr>
            <a:r>
              <a:rPr lang="en-US" sz="1600" b="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05788-632B-0A58-D2E4-ABD5F3495D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8864"/>
          <a:stretch>
            <a:fillRect/>
          </a:stretch>
        </p:blipFill>
        <p:spPr>
          <a:xfrm>
            <a:off x="5499100" y="927823"/>
            <a:ext cx="5768168" cy="5413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7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96F2-4505-76A1-F85C-61D483576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67" y="242936"/>
            <a:ext cx="10204607" cy="430887"/>
          </a:xfrm>
        </p:spPr>
        <p:txBody>
          <a:bodyPr/>
          <a:lstStyle/>
          <a:p>
            <a:r>
              <a:rPr lang="en-US" dirty="0"/>
              <a:t>Model Development – Customer Load Profi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A6280-6ABB-4C96-D25E-C5A4353636A2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294467" y="875277"/>
            <a:ext cx="10972800" cy="520142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dirty="0"/>
              <a:t>Extracting Customer Data 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Customer usage from company billing system (2-3 years historical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Weather Effector- Corresponding Temperature data for the local area (daily avg)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endParaRPr lang="en-US" sz="1100" b="0" dirty="0"/>
          </a:p>
          <a:p>
            <a:pPr>
              <a:spcAft>
                <a:spcPts val="600"/>
              </a:spcAft>
            </a:pPr>
            <a:r>
              <a:rPr lang="en-US" sz="1600" dirty="0"/>
              <a:t>Load Factor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Base Factor: non-temperature dependent (Cooking, Hot Water, Drying, </a:t>
            </a:r>
            <a:r>
              <a:rPr lang="en-US" sz="1600" b="0" dirty="0" err="1"/>
              <a:t>etc</a:t>
            </a:r>
            <a:r>
              <a:rPr lang="en-US" sz="1600" b="0" dirty="0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Heat Factor: Heating load which increases as temperature drops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Customer Loads = Base Factor + (Heat Factor x HDD)</a:t>
            </a:r>
          </a:p>
          <a:p>
            <a:pPr>
              <a:spcAft>
                <a:spcPts val="600"/>
              </a:spcAft>
            </a:pPr>
            <a:endParaRPr lang="en-US" sz="1100" b="0" dirty="0"/>
          </a:p>
          <a:p>
            <a:pPr>
              <a:spcAft>
                <a:spcPts val="600"/>
              </a:spcAft>
            </a:pPr>
            <a:r>
              <a:rPr lang="en-US" sz="1600" dirty="0"/>
              <a:t>Custom Loaded Customers – Large Commercial &amp; Industrial / Special Contrac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Large-Use trends &gt;5dth/</a:t>
            </a:r>
            <a:r>
              <a:rPr lang="en-US" sz="1600" b="0" dirty="0" err="1"/>
              <a:t>hr</a:t>
            </a:r>
            <a:r>
              <a:rPr lang="en-US" sz="1600" b="0" dirty="0"/>
              <a:t> (typical </a:t>
            </a:r>
            <a:r>
              <a:rPr lang="en-US" sz="1600" b="0" dirty="0" err="1"/>
              <a:t>resi</a:t>
            </a:r>
            <a:r>
              <a:rPr lang="en-US" sz="1600" b="0" dirty="0"/>
              <a:t>/small commercial is .1 to 1 </a:t>
            </a:r>
            <a:r>
              <a:rPr lang="en-US" sz="1600" b="0" dirty="0" err="1"/>
              <a:t>dth</a:t>
            </a:r>
            <a:r>
              <a:rPr lang="en-US" sz="1600" b="0" dirty="0"/>
              <a:t>/</a:t>
            </a:r>
            <a:r>
              <a:rPr lang="en-US" sz="1600" b="0" dirty="0" err="1"/>
              <a:t>hr</a:t>
            </a:r>
            <a:r>
              <a:rPr lang="en-US" sz="1600" b="0" dirty="0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Dual Fuel Capabilities, Interruptible customers (Non-firm curtailment at x HDD)</a:t>
            </a:r>
          </a:p>
          <a:p>
            <a:pPr>
              <a:spcAft>
                <a:spcPts val="600"/>
              </a:spcAft>
            </a:pPr>
            <a:r>
              <a:rPr lang="en-US" sz="1600" b="0" dirty="0"/>
              <a:t>	Seasonal Usage (like Asphalt Plants), Special contracts</a:t>
            </a:r>
          </a:p>
          <a:p>
            <a:pPr>
              <a:spcAft>
                <a:spcPts val="600"/>
              </a:spcAft>
            </a:pPr>
            <a:endParaRPr lang="en-US" sz="1100" b="0" dirty="0"/>
          </a:p>
          <a:p>
            <a:pPr>
              <a:spcAft>
                <a:spcPts val="600"/>
              </a:spcAft>
            </a:pPr>
            <a:r>
              <a:rPr lang="en-US" sz="1600" dirty="0"/>
              <a:t>Customer Load Profil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”Flow Categories” are created set up Synergy model where load profiles are allocated to the assigned nod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/>
              <a:t>Can develop seasonal models or HDD specific models to specify analysis criteri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E855D-2399-A9FB-37AE-37BC59112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6640" y="1442602"/>
            <a:ext cx="3215919" cy="2728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04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 NG 2018 PPT Tempal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F23320CD-16AA-4AB1-9E80-9E49EBDE654E}" vid="{B2A63B16-134F-4AAF-AD68-13824AEA96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c6f739-6684-4d16-80ae-d2b0743fb40e">
      <Terms xmlns="http://schemas.microsoft.com/office/infopath/2007/PartnerControls"/>
    </lcf76f155ced4ddcb4097134ff3c332f>
    <TaxCatchAll xmlns="cadce026-d35b-4a62-a2ee-1436bb44fb5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5679844E480A4C879B87E5235DE2B5" ma:contentTypeVersion="15" ma:contentTypeDescription="Create a new document." ma:contentTypeScope="" ma:versionID="ff922b849fb6e8161b95c915e5d599ac">
  <xsd:schema xmlns:xsd="http://www.w3.org/2001/XMLSchema" xmlns:xs="http://www.w3.org/2001/XMLSchema" xmlns:p="http://schemas.microsoft.com/office/2006/metadata/properties" xmlns:ns2="41c6f739-6684-4d16-80ae-d2b0743fb40e" xmlns:ns3="34d0b7c3-5c4f-435a-8d3c-86a1f3f79a0e" xmlns:ns4="cadce026-d35b-4a62-a2ee-1436bb44fb55" targetNamespace="http://schemas.microsoft.com/office/2006/metadata/properties" ma:root="true" ma:fieldsID="36cc84171ccf6bc4b3c849835f787f15" ns2:_="" ns3:_="" ns4:_="">
    <xsd:import namespace="41c6f739-6684-4d16-80ae-d2b0743fb40e"/>
    <xsd:import namespace="34d0b7c3-5c4f-435a-8d3c-86a1f3f79a0e"/>
    <xsd:import namespace="cadce026-d35b-4a62-a2ee-1436bb44fb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c6f739-6684-4d16-80ae-d2b0743fb4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571c05a-9bf0-4b0b-ad97-e13aed49ba3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0b7c3-5c4f-435a-8d3c-86a1f3f79a0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dce026-d35b-4a62-a2ee-1436bb44fb55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1bc0b2d3-299f-4740-8008-9f0b8a44d850}" ma:internalName="TaxCatchAll" ma:showField="CatchAllData" ma:web="34d0b7c3-5c4f-435a-8d3c-86a1f3f79a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CB7DDA-31FD-4EBD-BF71-71C50F296CD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50DD3C-4D24-4D0F-AC55-FAAA8235DF01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cadce026-d35b-4a62-a2ee-1436bb44fb55"/>
    <ds:schemaRef ds:uri="http://schemas.microsoft.com/office/2006/metadata/properties"/>
    <ds:schemaRef ds:uri="34d0b7c3-5c4f-435a-8d3c-86a1f3f79a0e"/>
    <ds:schemaRef ds:uri="41c6f739-6684-4d16-80ae-d2b0743fb40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40466EE-D0D9-4ED2-8D7D-DD602CCD5B2A}">
  <ds:schemaRefs>
    <ds:schemaRef ds:uri="34d0b7c3-5c4f-435a-8d3c-86a1f3f79a0e"/>
    <ds:schemaRef ds:uri="41c6f739-6684-4d16-80ae-d2b0743fb40e"/>
    <ds:schemaRef ds:uri="cadce026-d35b-4a62-a2ee-1436bb44fb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3</TotalTime>
  <Words>2619</Words>
  <Application>Microsoft Office PowerPoint</Application>
  <PresentationFormat>Widescreen</PresentationFormat>
  <Paragraphs>471</Paragraphs>
  <Slides>3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ptos</vt:lpstr>
      <vt:lpstr>Arial</vt:lpstr>
      <vt:lpstr>Calibri</vt:lpstr>
      <vt:lpstr>Wingdings</vt:lpstr>
      <vt:lpstr>US NG 2018 PPT Tempalte 16x9</vt:lpstr>
      <vt:lpstr>think-cell Slide</vt:lpstr>
      <vt:lpstr>Chart</vt:lpstr>
      <vt:lpstr>Northeast Gas Association  Distribution System Modeling   Presented by:  Kasey Elkin Manager – Gas Long Term Planning </vt:lpstr>
      <vt:lpstr>System Design Goal</vt:lpstr>
      <vt:lpstr>Agenda</vt:lpstr>
      <vt:lpstr>Model Development - Overview</vt:lpstr>
      <vt:lpstr>Model Development - Facilities</vt:lpstr>
      <vt:lpstr>Model Development - Facilities</vt:lpstr>
      <vt:lpstr>Model Development - Facilities</vt:lpstr>
      <vt:lpstr>Model Development – Nodes</vt:lpstr>
      <vt:lpstr>Model Development – Customer Load Profile</vt:lpstr>
      <vt:lpstr>PowerPoint Presentation</vt:lpstr>
      <vt:lpstr>PowerPoint Presentation</vt:lpstr>
      <vt:lpstr>Model Verification – How Accurate Are Model Predictions?</vt:lpstr>
      <vt:lpstr>Model Verification – How Accurate Are Model Predictions?</vt:lpstr>
      <vt:lpstr>Part 2: Modeling Applications</vt:lpstr>
      <vt:lpstr>Part 2: System Planning – Design Parameters</vt:lpstr>
      <vt:lpstr>Part 2: Model Application - Overview</vt:lpstr>
      <vt:lpstr>Model Application – Basic Concept</vt:lpstr>
      <vt:lpstr>Model Application – Basic Concept </vt:lpstr>
      <vt:lpstr>Model Application – Basic Concept  Visual Representation for Analysis </vt:lpstr>
      <vt:lpstr>Part 2: Model Application – New Customer</vt:lpstr>
      <vt:lpstr>Part 2: Model Application – New Customer</vt:lpstr>
      <vt:lpstr>Part 2: Model Application – New Customer</vt:lpstr>
      <vt:lpstr>Part 2: Model Application – New Customer</vt:lpstr>
      <vt:lpstr>Part 2: Model Application – New Customer</vt:lpstr>
      <vt:lpstr>Part 2: Model Application – New Customer</vt:lpstr>
      <vt:lpstr>Part 2: Model Application – Troubleshooting </vt:lpstr>
      <vt:lpstr>Part 2: Model Application – Troubleshooting </vt:lpstr>
      <vt:lpstr>Part 2: Model Application – Troubleshooting </vt:lpstr>
      <vt:lpstr>Part 2: Model Application – Troubleshooting </vt:lpstr>
      <vt:lpstr>Part 2: Model Application – Troubleshooting </vt:lpstr>
      <vt:lpstr>Synergi’s Relationship with Gas Departments</vt:lpstr>
      <vt:lpstr>Summary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iz Harridge</dc:creator>
  <cp:lastModifiedBy>Kasey Elkin</cp:lastModifiedBy>
  <cp:revision>1</cp:revision>
  <dcterms:created xsi:type="dcterms:W3CDTF">2026-01-27T20:35:13Z</dcterms:created>
  <dcterms:modified xsi:type="dcterms:W3CDTF">2026-06-04T00:39:28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MediaServiceImageTags">
    <vt:lpwstr/>
  </property>
  <property fmtid="{D5CDD505-2E9C-101B-9397-08002B2CF9AE}" pid="3" name="MSIP_Label_2476c3c7-4429-40a1-a715-690bc5f247f6_Removed">
    <vt:lpwstr>False</vt:lpwstr>
  </property>
  <property fmtid="{D5CDD505-2E9C-101B-9397-08002B2CF9AE}" pid="4" name="MSIP_Label_2476c3c7-4429-40a1-a715-690bc5f247f6_ActionId">
    <vt:lpwstr>980d8218-e631-4aa7-ae8a-393e47c43716</vt:lpwstr>
  </property>
  <property fmtid="{D5CDD505-2E9C-101B-9397-08002B2CF9AE}" pid="5" name="MSIP_Label_2476c3c7-4429-40a1-a715-690bc5f247f6_Name">
    <vt:lpwstr>Confidential</vt:lpwstr>
  </property>
  <property fmtid="{D5CDD505-2E9C-101B-9397-08002B2CF9AE}" pid="6" name="MSIP_Label_2476c3c7-4429-40a1-a715-690bc5f247f6_SetDate">
    <vt:lpwstr>2026-06-04T00:40:56Z</vt:lpwstr>
  </property>
  <property fmtid="{D5CDD505-2E9C-101B-9397-08002B2CF9AE}" pid="7" name="MSIP_Label_2476c3c7-4429-40a1-a715-690bc5f247f6_SiteId">
    <vt:lpwstr>f98a6a53-25f3-4212-901c-c7787fcd3495</vt:lpwstr>
  </property>
  <property fmtid="{D5CDD505-2E9C-101B-9397-08002B2CF9AE}" pid="8" name="MSIP_Label_2476c3c7-4429-40a1-a715-690bc5f247f6_Enabled">
    <vt:lpwstr>True</vt:lpwstr>
  </property>
  <property fmtid="{D5CDD505-2E9C-101B-9397-08002B2CF9AE}" pid="9" name="ContentTypeId">
    <vt:lpwstr>0x010100285679844E480A4C879B87E5235DE2B5</vt:lpwstr>
  </property>
  <property fmtid="{D5CDD505-2E9C-101B-9397-08002B2CF9AE}" pid="10" name="MSIP_Label_2476c3c7-4429-40a1-a715-690bc5f247f6_Extended_MSFT_Method">
    <vt:lpwstr>Standard</vt:lpwstr>
  </property>
  <property fmtid="{D5CDD505-2E9C-101B-9397-08002B2CF9AE}" pid="11" name="Sensitivity">
    <vt:lpwstr>Confidential</vt:lpwstr>
  </property>
</Properties>
</file>